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4.xml" ContentType="application/vnd.openxmlformats-officedocument.theme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5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4"/>
    <p:sldMasterId id="2147483717" r:id="rId5"/>
    <p:sldMasterId id="2147483792" r:id="rId6"/>
    <p:sldMasterId id="2147483817" r:id="rId7"/>
    <p:sldMasterId id="2147483856" r:id="rId8"/>
    <p:sldMasterId id="2147483883" r:id="rId9"/>
    <p:sldMasterId id="2147483898" r:id="rId10"/>
  </p:sldMasterIdLst>
  <p:notesMasterIdLst>
    <p:notesMasterId r:id="rId31"/>
  </p:notesMasterIdLst>
  <p:handoutMasterIdLst>
    <p:handoutMasterId r:id="rId32"/>
  </p:handoutMasterIdLst>
  <p:sldIdLst>
    <p:sldId id="276" r:id="rId11"/>
    <p:sldId id="784" r:id="rId12"/>
    <p:sldId id="783" r:id="rId13"/>
    <p:sldId id="277" r:id="rId14"/>
    <p:sldId id="787" r:id="rId15"/>
    <p:sldId id="769" r:id="rId16"/>
    <p:sldId id="776" r:id="rId17"/>
    <p:sldId id="402" r:id="rId18"/>
    <p:sldId id="399" r:id="rId19"/>
    <p:sldId id="400" r:id="rId20"/>
    <p:sldId id="779" r:id="rId21"/>
    <p:sldId id="333" r:id="rId22"/>
    <p:sldId id="289" r:id="rId23"/>
    <p:sldId id="290" r:id="rId24"/>
    <p:sldId id="781" r:id="rId25"/>
    <p:sldId id="332" r:id="rId26"/>
    <p:sldId id="401" r:id="rId27"/>
    <p:sldId id="786" r:id="rId28"/>
    <p:sldId id="343" r:id="rId29"/>
    <p:sldId id="340" r:id="rId30"/>
  </p:sldIdLst>
  <p:sldSz cx="12192000" cy="6858000"/>
  <p:notesSz cx="9926638" cy="67976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7EBF2"/>
    <a:srgbClr val="ACBFDC"/>
    <a:srgbClr val="D9D9D9"/>
    <a:srgbClr val="003E9A"/>
    <a:srgbClr val="FF6A13"/>
    <a:srgbClr val="FF6E19"/>
    <a:srgbClr val="1A51A4"/>
    <a:srgbClr val="FFBA92"/>
    <a:srgbClr val="0A4F88"/>
    <a:srgbClr val="5D9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792BB63-C898-4004-B593-47E0D115CD50}" v="2" dt="2023-04-04T08:45:38.54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014" autoAdjust="0"/>
  </p:normalViewPr>
  <p:slideViewPr>
    <p:cSldViewPr snapToGrid="0">
      <p:cViewPr varScale="1">
        <p:scale>
          <a:sx n="75" d="100"/>
          <a:sy n="75" d="100"/>
        </p:scale>
        <p:origin x="946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38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handoutMaster" Target="handoutMasters/handoutMaster1.xml"/><Relationship Id="rId37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incent X Hou" userId="f4babd35-8997-401f-aec0-b291f8aa0e96" providerId="ADAL" clId="{5792BB63-C898-4004-B593-47E0D115CD50}"/>
    <pc:docChg chg="addSld delSld modSld sldOrd">
      <pc:chgData name="Vincent X Hou" userId="f4babd35-8997-401f-aec0-b291f8aa0e96" providerId="ADAL" clId="{5792BB63-C898-4004-B593-47E0D115CD50}" dt="2023-04-04T08:45:38.536" v="54"/>
      <pc:docMkLst>
        <pc:docMk/>
      </pc:docMkLst>
      <pc:sldChg chg="del">
        <pc:chgData name="Vincent X Hou" userId="f4babd35-8997-401f-aec0-b291f8aa0e96" providerId="ADAL" clId="{5792BB63-C898-4004-B593-47E0D115CD50}" dt="2023-04-04T08:44:59.099" v="10" actId="47"/>
        <pc:sldMkLst>
          <pc:docMk/>
          <pc:sldMk cId="1572677360" sldId="265"/>
        </pc:sldMkLst>
      </pc:sldChg>
      <pc:sldChg chg="modSp add mod ord">
        <pc:chgData name="Vincent X Hou" userId="f4babd35-8997-401f-aec0-b291f8aa0e96" providerId="ADAL" clId="{5792BB63-C898-4004-B593-47E0D115CD50}" dt="2023-04-04T08:45:15.643" v="51" actId="20577"/>
        <pc:sldMkLst>
          <pc:docMk/>
          <pc:sldMk cId="2510390049" sldId="276"/>
        </pc:sldMkLst>
        <pc:spChg chg="mod">
          <ac:chgData name="Vincent X Hou" userId="f4babd35-8997-401f-aec0-b291f8aa0e96" providerId="ADAL" clId="{5792BB63-C898-4004-B593-47E0D115CD50}" dt="2023-04-04T08:44:56.181" v="9" actId="207"/>
          <ac:spMkLst>
            <pc:docMk/>
            <pc:sldMk cId="2510390049" sldId="276"/>
            <ac:spMk id="2" creationId="{00000000-0000-0000-0000-000000000000}"/>
          </ac:spMkLst>
        </pc:spChg>
        <pc:spChg chg="mod">
          <ac:chgData name="Vincent X Hou" userId="f4babd35-8997-401f-aec0-b291f8aa0e96" providerId="ADAL" clId="{5792BB63-C898-4004-B593-47E0D115CD50}" dt="2023-04-04T08:45:15.643" v="51" actId="20577"/>
          <ac:spMkLst>
            <pc:docMk/>
            <pc:sldMk cId="2510390049" sldId="276"/>
            <ac:spMk id="4" creationId="{00000000-0000-0000-0000-000000000000}"/>
          </ac:spMkLst>
        </pc:spChg>
      </pc:sldChg>
      <pc:sldChg chg="del">
        <pc:chgData name="Vincent X Hou" userId="f4babd35-8997-401f-aec0-b291f8aa0e96" providerId="ADAL" clId="{5792BB63-C898-4004-B593-47E0D115CD50}" dt="2023-04-04T08:45:37.092" v="53" actId="47"/>
        <pc:sldMkLst>
          <pc:docMk/>
          <pc:sldMk cId="3787423923" sldId="294"/>
        </pc:sldMkLst>
      </pc:sldChg>
      <pc:sldChg chg="del">
        <pc:chgData name="Vincent X Hou" userId="f4babd35-8997-401f-aec0-b291f8aa0e96" providerId="ADAL" clId="{5792BB63-C898-4004-B593-47E0D115CD50}" dt="2023-04-04T08:45:33.894" v="52" actId="2696"/>
        <pc:sldMkLst>
          <pc:docMk/>
          <pc:sldMk cId="2440070925" sldId="787"/>
        </pc:sldMkLst>
      </pc:sldChg>
      <pc:sldChg chg="add">
        <pc:chgData name="Vincent X Hou" userId="f4babd35-8997-401f-aec0-b291f8aa0e96" providerId="ADAL" clId="{5792BB63-C898-4004-B593-47E0D115CD50}" dt="2023-04-04T08:45:38.536" v="54"/>
        <pc:sldMkLst>
          <pc:docMk/>
          <pc:sldMk cId="3180317187" sldId="78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3"/>
          <c:dPt>
            <c:idx val="0"/>
            <c:bubble3D val="0"/>
            <c:spPr>
              <a:solidFill>
                <a:schemeClr val="tx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C07-4892-94FB-A34964E9BD50}"/>
              </c:ext>
            </c:extLst>
          </c:dPt>
          <c:dPt>
            <c:idx val="1"/>
            <c:bubble3D val="0"/>
            <c:explosion val="22"/>
            <c:spPr>
              <a:solidFill>
                <a:srgbClr val="0A4F88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C07-4892-94FB-A34964E9BD50}"/>
              </c:ext>
            </c:extLst>
          </c:dPt>
          <c:cat>
            <c:strRef>
              <c:f>Sheet1!$A$2:$A$3</c:f>
              <c:strCache>
                <c:ptCount val="2"/>
                <c:pt idx="0">
                  <c:v>Domain Expert</c:v>
                </c:pt>
                <c:pt idx="1">
                  <c:v>Grant Paym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0</c:v>
                </c:pt>
                <c:pt idx="1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C07-4892-94FB-A34964E9BD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5158-4199-9202-A0FCE2E1D6DB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158-4199-9202-A0FCE2E1D6DB}"/>
              </c:ext>
            </c:extLst>
          </c:dPt>
          <c:cat>
            <c:strRef>
              <c:f>Sheet1!$A$2:$A$3</c:f>
              <c:strCache>
                <c:ptCount val="2"/>
                <c:pt idx="0">
                  <c:v>Domain Expert</c:v>
                </c:pt>
                <c:pt idx="1">
                  <c:v>Grant Paym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0</c:v>
                </c:pt>
                <c:pt idx="1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158-4199-9202-A0FCE2E1D6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5B9B-42D7-97A3-1639C0125C46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5B9B-42D7-97A3-1639C0125C46}"/>
              </c:ext>
            </c:extLst>
          </c:dPt>
          <c:cat>
            <c:strRef>
              <c:f>Sheet1!$A$2:$A$3</c:f>
              <c:strCache>
                <c:ptCount val="2"/>
                <c:pt idx="0">
                  <c:v>Domain Expert</c:v>
                </c:pt>
                <c:pt idx="1">
                  <c:v>Grant Paym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0</c:v>
                </c:pt>
                <c:pt idx="1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B9B-42D7-97A3-1639C0125C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C00000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C6A-4FAE-ACC2-F3769DEEF553}"/>
              </c:ext>
            </c:extLst>
          </c:dPt>
          <c:dPt>
            <c:idx val="1"/>
            <c:bubble3D val="0"/>
            <c:spPr>
              <a:solidFill>
                <a:schemeClr val="tx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C6A-4FAE-ACC2-F3769DEEF553}"/>
              </c:ext>
            </c:extLst>
          </c:dPt>
          <c:cat>
            <c:strRef>
              <c:f>Sheet1!$A$2:$A$3</c:f>
              <c:strCache>
                <c:ptCount val="2"/>
                <c:pt idx="0">
                  <c:v>Domain Expert</c:v>
                </c:pt>
                <c:pt idx="1">
                  <c:v>Grant Payment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20</c:v>
                </c:pt>
                <c:pt idx="1">
                  <c:v>3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C6A-4FAE-ACC2-F3769DEEF5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A01D61-9A18-4E5D-A377-0B48D5877DC7}" type="datetimeFigureOut">
              <a:rPr lang="en-US" smtClean="0"/>
              <a:t>4/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0C8160-DCEB-4720-B81D-F71834952A6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69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8" y="1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29AF892-7167-4D71-91C5-34C9B94FCC56}" type="datetimeFigureOut">
              <a:rPr lang="en-US" smtClean="0"/>
              <a:t>4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4175" y="849313"/>
            <a:ext cx="4078288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4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8" y="6456612"/>
            <a:ext cx="4301543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9A8655-C718-42B7-9473-BAE9BB120FB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3799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9A8655-C718-42B7-9473-BAE9BB120FB4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73208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38247-7DFF-47BF-9B31-E5CA6924FC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17222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A8655-C718-42B7-9473-BAE9BB120F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5618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38247-7DFF-47BF-9B31-E5CA6924FC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455491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A8655-C718-42B7-9473-BAE9BB120F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534746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A8655-C718-42B7-9473-BAE9BB120F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1971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BAE439-2349-4B96-AF78-9600BDB053F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46749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9A8655-C718-42B7-9473-BAE9BB120FB4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4568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A8655-C718-42B7-9473-BAE9BB120F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25218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9A8655-C718-42B7-9473-BAE9BB120FB4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86738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9A8655-C718-42B7-9473-BAE9BB120FB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1245580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H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9A8655-C718-42B7-9473-BAE9BB120FB4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8632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38247-7DFF-47BF-9B31-E5CA6924FC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81236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438247-7DFF-47BF-9B31-E5CA6924FC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2153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9.emf"/><Relationship Id="rId4" Type="http://schemas.openxmlformats.org/officeDocument/2006/relationships/oleObject" Target="../embeddings/oleObject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tiff"/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6306399" y="0"/>
            <a:ext cx="5885601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/>
              <a:t>[insert your picture here]</a:t>
            </a:r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Chapter Slide Title </a:t>
            </a:r>
          </a:p>
        </p:txBody>
      </p:sp>
    </p:spTree>
    <p:extLst>
      <p:ext uri="{BB962C8B-B14F-4D97-AF65-F5344CB8AC3E}">
        <p14:creationId xmlns:p14="http://schemas.microsoft.com/office/powerpoint/2010/main" val="119492607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354036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TextBox 6"/>
          <p:cNvSpPr txBox="1"/>
          <p:nvPr userDrawn="1"/>
        </p:nvSpPr>
        <p:spPr>
          <a:xfrm>
            <a:off x="332017" y="6663869"/>
            <a:ext cx="56664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4265343" y="3975043"/>
            <a:ext cx="3418944" cy="1376738"/>
            <a:chOff x="8528465" y="7950086"/>
            <a:chExt cx="6836108" cy="2753476"/>
          </a:xfrm>
        </p:grpSpPr>
        <p:grpSp>
          <p:nvGrpSpPr>
            <p:cNvPr id="11" name="Group 10"/>
            <p:cNvGrpSpPr/>
            <p:nvPr/>
          </p:nvGrpSpPr>
          <p:grpSpPr>
            <a:xfrm>
              <a:off x="8528465" y="7950086"/>
              <a:ext cx="6836108" cy="2753476"/>
              <a:chOff x="8374925" y="6676812"/>
              <a:chExt cx="6836108" cy="275347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374925" y="7950086"/>
                <a:ext cx="6836108" cy="1480202"/>
                <a:chOff x="13130764" y="5664086"/>
                <a:chExt cx="6836108" cy="148020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64A36400-CC94-5944-9B6E-748029E0EF99}"/>
                    </a:ext>
                  </a:extLst>
                </p:cNvPr>
                <p:cNvSpPr/>
                <p:nvPr/>
              </p:nvSpPr>
              <p:spPr>
                <a:xfrm>
                  <a:off x="13130764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6" name="Freeform 1">
                  <a:extLst>
                    <a:ext uri="{FF2B5EF4-FFF2-40B4-BE49-F238E27FC236}">
                      <a16:creationId xmlns:a16="http://schemas.microsoft.com/office/drawing/2014/main" id="{0C0946D3-D99A-3F49-A310-2F87A03BF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57458" y="5947177"/>
                  <a:ext cx="426805" cy="914008"/>
                </a:xfrm>
                <a:custGeom>
                  <a:avLst/>
                  <a:gdLst>
                    <a:gd name="T0" fmla="*/ 303 w 1401"/>
                    <a:gd name="T1" fmla="*/ 582 h 3001"/>
                    <a:gd name="T2" fmla="*/ 303 w 1401"/>
                    <a:gd name="T3" fmla="*/ 994 h 3001"/>
                    <a:gd name="T4" fmla="*/ 0 w 1401"/>
                    <a:gd name="T5" fmla="*/ 994 h 3001"/>
                    <a:gd name="T6" fmla="*/ 0 w 1401"/>
                    <a:gd name="T7" fmla="*/ 1499 h 3001"/>
                    <a:gd name="T8" fmla="*/ 303 w 1401"/>
                    <a:gd name="T9" fmla="*/ 1499 h 3001"/>
                    <a:gd name="T10" fmla="*/ 303 w 1401"/>
                    <a:gd name="T11" fmla="*/ 3000 h 3001"/>
                    <a:gd name="T12" fmla="*/ 924 w 1401"/>
                    <a:gd name="T13" fmla="*/ 3000 h 3001"/>
                    <a:gd name="T14" fmla="*/ 924 w 1401"/>
                    <a:gd name="T15" fmla="*/ 1500 h 3001"/>
                    <a:gd name="T16" fmla="*/ 1341 w 1401"/>
                    <a:gd name="T17" fmla="*/ 1500 h 3001"/>
                    <a:gd name="T18" fmla="*/ 1341 w 1401"/>
                    <a:gd name="T19" fmla="*/ 1500 h 3001"/>
                    <a:gd name="T20" fmla="*/ 1399 w 1401"/>
                    <a:gd name="T21" fmla="*/ 993 h 3001"/>
                    <a:gd name="T22" fmla="*/ 926 w 1401"/>
                    <a:gd name="T23" fmla="*/ 993 h 3001"/>
                    <a:gd name="T24" fmla="*/ 926 w 1401"/>
                    <a:gd name="T25" fmla="*/ 647 h 3001"/>
                    <a:gd name="T26" fmla="*/ 926 w 1401"/>
                    <a:gd name="T27" fmla="*/ 647 h 3001"/>
                    <a:gd name="T28" fmla="*/ 1061 w 1401"/>
                    <a:gd name="T29" fmla="*/ 526 h 3001"/>
                    <a:gd name="T30" fmla="*/ 1400 w 1401"/>
                    <a:gd name="T31" fmla="*/ 526 h 3001"/>
                    <a:gd name="T32" fmla="*/ 1400 w 1401"/>
                    <a:gd name="T33" fmla="*/ 0 h 3001"/>
                    <a:gd name="T34" fmla="*/ 939 w 1401"/>
                    <a:gd name="T35" fmla="*/ 0 h 3001"/>
                    <a:gd name="T36" fmla="*/ 939 w 1401"/>
                    <a:gd name="T37" fmla="*/ 0 h 3001"/>
                    <a:gd name="T38" fmla="*/ 303 w 1401"/>
                    <a:gd name="T39" fmla="*/ 582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01" h="3001">
                      <a:moveTo>
                        <a:pt x="303" y="582"/>
                      </a:moveTo>
                      <a:lnTo>
                        <a:pt x="303" y="994"/>
                      </a:lnTo>
                      <a:lnTo>
                        <a:pt x="0" y="994"/>
                      </a:lnTo>
                      <a:lnTo>
                        <a:pt x="0" y="1499"/>
                      </a:lnTo>
                      <a:lnTo>
                        <a:pt x="303" y="1499"/>
                      </a:lnTo>
                      <a:lnTo>
                        <a:pt x="303" y="3000"/>
                      </a:lnTo>
                      <a:lnTo>
                        <a:pt x="924" y="3000"/>
                      </a:lnTo>
                      <a:lnTo>
                        <a:pt x="924" y="1500"/>
                      </a:lnTo>
                      <a:lnTo>
                        <a:pt x="1341" y="1500"/>
                      </a:lnTo>
                      <a:lnTo>
                        <a:pt x="1341" y="1500"/>
                      </a:lnTo>
                      <a:cubicBezTo>
                        <a:pt x="1341" y="1500"/>
                        <a:pt x="1380" y="1257"/>
                        <a:pt x="1399" y="993"/>
                      </a:cubicBezTo>
                      <a:lnTo>
                        <a:pt x="926" y="993"/>
                      </a:lnTo>
                      <a:lnTo>
                        <a:pt x="926" y="647"/>
                      </a:lnTo>
                      <a:lnTo>
                        <a:pt x="926" y="647"/>
                      </a:lnTo>
                      <a:cubicBezTo>
                        <a:pt x="926" y="596"/>
                        <a:pt x="994" y="526"/>
                        <a:pt x="1061" y="526"/>
                      </a:cubicBezTo>
                      <a:lnTo>
                        <a:pt x="1400" y="526"/>
                      </a:lnTo>
                      <a:lnTo>
                        <a:pt x="1400" y="0"/>
                      </a:lnTo>
                      <a:lnTo>
                        <a:pt x="939" y="0"/>
                      </a:lnTo>
                      <a:lnTo>
                        <a:pt x="939" y="0"/>
                      </a:lnTo>
                      <a:cubicBezTo>
                        <a:pt x="287" y="0"/>
                        <a:pt x="303" y="506"/>
                        <a:pt x="303" y="58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06FAB05E-CE5A-A845-87CD-424BC03CA7F7}"/>
                    </a:ext>
                  </a:extLst>
                </p:cNvPr>
                <p:cNvSpPr/>
                <p:nvPr/>
              </p:nvSpPr>
              <p:spPr>
                <a:xfrm>
                  <a:off x="14916561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8" name="Freeform 3">
                  <a:extLst>
                    <a:ext uri="{FF2B5EF4-FFF2-40B4-BE49-F238E27FC236}">
                      <a16:creationId xmlns:a16="http://schemas.microsoft.com/office/drawing/2014/main" id="{45723339-63E7-7E4F-A0F7-4B02C15A4C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11033" y="6103223"/>
                  <a:ext cx="894037" cy="614110"/>
                </a:xfrm>
                <a:custGeom>
                  <a:avLst/>
                  <a:gdLst>
                    <a:gd name="T0" fmla="*/ 1880 w 5013"/>
                    <a:gd name="T1" fmla="*/ 2663 h 3446"/>
                    <a:gd name="T2" fmla="*/ 1880 w 5013"/>
                    <a:gd name="T3" fmla="*/ 783 h 3446"/>
                    <a:gd name="T4" fmla="*/ 3446 w 5013"/>
                    <a:gd name="T5" fmla="*/ 1723 h 3446"/>
                    <a:gd name="T6" fmla="*/ 1880 w 5013"/>
                    <a:gd name="T7" fmla="*/ 2663 h 3446"/>
                    <a:gd name="T8" fmla="*/ 4799 w 5013"/>
                    <a:gd name="T9" fmla="*/ 332 h 3446"/>
                    <a:gd name="T10" fmla="*/ 4799 w 5013"/>
                    <a:gd name="T11" fmla="*/ 332 h 3446"/>
                    <a:gd name="T12" fmla="*/ 4215 w 5013"/>
                    <a:gd name="T13" fmla="*/ 28 h 3446"/>
                    <a:gd name="T14" fmla="*/ 4215 w 5013"/>
                    <a:gd name="T15" fmla="*/ 28 h 3446"/>
                    <a:gd name="T16" fmla="*/ 2507 w 5013"/>
                    <a:gd name="T17" fmla="*/ 0 h 3446"/>
                    <a:gd name="T18" fmla="*/ 2507 w 5013"/>
                    <a:gd name="T19" fmla="*/ 0 h 3446"/>
                    <a:gd name="T20" fmla="*/ 797 w 5013"/>
                    <a:gd name="T21" fmla="*/ 28 h 3446"/>
                    <a:gd name="T22" fmla="*/ 797 w 5013"/>
                    <a:gd name="T23" fmla="*/ 28 h 3446"/>
                    <a:gd name="T24" fmla="*/ 212 w 5013"/>
                    <a:gd name="T25" fmla="*/ 332 h 3446"/>
                    <a:gd name="T26" fmla="*/ 212 w 5013"/>
                    <a:gd name="T27" fmla="*/ 332 h 3446"/>
                    <a:gd name="T28" fmla="*/ 0 w 5013"/>
                    <a:gd name="T29" fmla="*/ 1722 h 3446"/>
                    <a:gd name="T30" fmla="*/ 0 w 5013"/>
                    <a:gd name="T31" fmla="*/ 1723 h 3446"/>
                    <a:gd name="T32" fmla="*/ 0 w 5013"/>
                    <a:gd name="T33" fmla="*/ 1723 h 3446"/>
                    <a:gd name="T34" fmla="*/ 0 w 5013"/>
                    <a:gd name="T35" fmla="*/ 1724 h 3446"/>
                    <a:gd name="T36" fmla="*/ 0 w 5013"/>
                    <a:gd name="T37" fmla="*/ 1724 h 3446"/>
                    <a:gd name="T38" fmla="*/ 212 w 5013"/>
                    <a:gd name="T39" fmla="*/ 3111 h 3446"/>
                    <a:gd name="T40" fmla="*/ 212 w 5013"/>
                    <a:gd name="T41" fmla="*/ 3111 h 3446"/>
                    <a:gd name="T42" fmla="*/ 797 w 5013"/>
                    <a:gd name="T43" fmla="*/ 3418 h 3446"/>
                    <a:gd name="T44" fmla="*/ 797 w 5013"/>
                    <a:gd name="T45" fmla="*/ 3418 h 3446"/>
                    <a:gd name="T46" fmla="*/ 2507 w 5013"/>
                    <a:gd name="T47" fmla="*/ 3445 h 3446"/>
                    <a:gd name="T48" fmla="*/ 2507 w 5013"/>
                    <a:gd name="T49" fmla="*/ 3445 h 3446"/>
                    <a:gd name="T50" fmla="*/ 4215 w 5013"/>
                    <a:gd name="T51" fmla="*/ 3418 h 3446"/>
                    <a:gd name="T52" fmla="*/ 4215 w 5013"/>
                    <a:gd name="T53" fmla="*/ 3418 h 3446"/>
                    <a:gd name="T54" fmla="*/ 4799 w 5013"/>
                    <a:gd name="T55" fmla="*/ 3112 h 3446"/>
                    <a:gd name="T56" fmla="*/ 4799 w 5013"/>
                    <a:gd name="T57" fmla="*/ 3112 h 3446"/>
                    <a:gd name="T58" fmla="*/ 5012 w 5013"/>
                    <a:gd name="T59" fmla="*/ 1725 h 3446"/>
                    <a:gd name="T60" fmla="*/ 5012 w 5013"/>
                    <a:gd name="T61" fmla="*/ 1723 h 3446"/>
                    <a:gd name="T62" fmla="*/ 5012 w 5013"/>
                    <a:gd name="T63" fmla="*/ 1722 h 3446"/>
                    <a:gd name="T64" fmla="*/ 5012 w 5013"/>
                    <a:gd name="T65" fmla="*/ 1722 h 3446"/>
                    <a:gd name="T66" fmla="*/ 4799 w 5013"/>
                    <a:gd name="T67" fmla="*/ 332 h 3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13" h="3446">
                      <a:moveTo>
                        <a:pt x="1880" y="2663"/>
                      </a:moveTo>
                      <a:lnTo>
                        <a:pt x="1880" y="783"/>
                      </a:lnTo>
                      <a:lnTo>
                        <a:pt x="3446" y="1723"/>
                      </a:lnTo>
                      <a:lnTo>
                        <a:pt x="1880" y="2663"/>
                      </a:lnTo>
                      <a:close/>
                      <a:moveTo>
                        <a:pt x="4799" y="332"/>
                      </a:moveTo>
                      <a:lnTo>
                        <a:pt x="4799" y="332"/>
                      </a:lnTo>
                      <a:cubicBezTo>
                        <a:pt x="4663" y="90"/>
                        <a:pt x="4515" y="45"/>
                        <a:pt x="4215" y="28"/>
                      </a:cubicBezTo>
                      <a:lnTo>
                        <a:pt x="4215" y="28"/>
                      </a:lnTo>
                      <a:cubicBezTo>
                        <a:pt x="3915" y="8"/>
                        <a:pt x="3160" y="0"/>
                        <a:pt x="2507" y="0"/>
                      </a:cubicBezTo>
                      <a:lnTo>
                        <a:pt x="2507" y="0"/>
                      </a:lnTo>
                      <a:cubicBezTo>
                        <a:pt x="1852" y="0"/>
                        <a:pt x="1097" y="8"/>
                        <a:pt x="797" y="28"/>
                      </a:cubicBezTo>
                      <a:lnTo>
                        <a:pt x="797" y="28"/>
                      </a:lnTo>
                      <a:cubicBezTo>
                        <a:pt x="497" y="45"/>
                        <a:pt x="350" y="89"/>
                        <a:pt x="212" y="332"/>
                      </a:cubicBezTo>
                      <a:lnTo>
                        <a:pt x="212" y="332"/>
                      </a:lnTo>
                      <a:cubicBezTo>
                        <a:pt x="72" y="573"/>
                        <a:pt x="0" y="989"/>
                        <a:pt x="0" y="1722"/>
                      </a:cubicBezTo>
                      <a:lnTo>
                        <a:pt x="0" y="1723"/>
                      </a:lnTo>
                      <a:lnTo>
                        <a:pt x="0" y="1723"/>
                      </a:lnTo>
                      <a:lnTo>
                        <a:pt x="0" y="1724"/>
                      </a:lnTo>
                      <a:lnTo>
                        <a:pt x="0" y="1724"/>
                      </a:lnTo>
                      <a:cubicBezTo>
                        <a:pt x="0" y="2453"/>
                        <a:pt x="72" y="2873"/>
                        <a:pt x="212" y="3111"/>
                      </a:cubicBezTo>
                      <a:lnTo>
                        <a:pt x="212" y="3111"/>
                      </a:lnTo>
                      <a:cubicBezTo>
                        <a:pt x="350" y="3353"/>
                        <a:pt x="497" y="3397"/>
                        <a:pt x="797" y="3418"/>
                      </a:cubicBezTo>
                      <a:lnTo>
                        <a:pt x="797" y="3418"/>
                      </a:lnTo>
                      <a:cubicBezTo>
                        <a:pt x="1097" y="3435"/>
                        <a:pt x="1852" y="3445"/>
                        <a:pt x="2507" y="3445"/>
                      </a:cubicBezTo>
                      <a:lnTo>
                        <a:pt x="2507" y="3445"/>
                      </a:lnTo>
                      <a:cubicBezTo>
                        <a:pt x="3160" y="3445"/>
                        <a:pt x="3915" y="3435"/>
                        <a:pt x="4215" y="3418"/>
                      </a:cubicBezTo>
                      <a:lnTo>
                        <a:pt x="4215" y="3418"/>
                      </a:lnTo>
                      <a:cubicBezTo>
                        <a:pt x="4516" y="3397"/>
                        <a:pt x="4664" y="3354"/>
                        <a:pt x="4799" y="3112"/>
                      </a:cubicBezTo>
                      <a:lnTo>
                        <a:pt x="4799" y="3112"/>
                      </a:lnTo>
                      <a:cubicBezTo>
                        <a:pt x="4941" y="2873"/>
                        <a:pt x="5012" y="2453"/>
                        <a:pt x="5012" y="1725"/>
                      </a:cubicBezTo>
                      <a:lnTo>
                        <a:pt x="5012" y="1723"/>
                      </a:lnTo>
                      <a:lnTo>
                        <a:pt x="5012" y="1722"/>
                      </a:lnTo>
                      <a:lnTo>
                        <a:pt x="5012" y="1722"/>
                      </a:lnTo>
                      <a:cubicBezTo>
                        <a:pt x="5012" y="989"/>
                        <a:pt x="4941" y="573"/>
                        <a:pt x="4799" y="3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6702358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C6FDA468-9051-804F-92C8-0CAACA78F5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06488" y="5968218"/>
                  <a:ext cx="871929" cy="871929"/>
                </a:xfrm>
                <a:custGeom>
                  <a:avLst/>
                  <a:gdLst>
                    <a:gd name="connsiteX0" fmla="*/ 902928 w 1804628"/>
                    <a:gd name="connsiteY0" fmla="*/ 620127 h 1804628"/>
                    <a:gd name="connsiteX1" fmla="*/ 621192 w 1804628"/>
                    <a:gd name="connsiteY1" fmla="*/ 902494 h 1804628"/>
                    <a:gd name="connsiteX2" fmla="*/ 902928 w 1804628"/>
                    <a:gd name="connsiteY2" fmla="*/ 1184502 h 1804628"/>
                    <a:gd name="connsiteX3" fmla="*/ 1185024 w 1804628"/>
                    <a:gd name="connsiteY3" fmla="*/ 902494 h 1804628"/>
                    <a:gd name="connsiteX4" fmla="*/ 902928 w 1804628"/>
                    <a:gd name="connsiteY4" fmla="*/ 620127 h 1804628"/>
                    <a:gd name="connsiteX5" fmla="*/ 902928 w 1804628"/>
                    <a:gd name="connsiteY5" fmla="*/ 450850 h 1804628"/>
                    <a:gd name="connsiteX6" fmla="*/ 1353778 w 1804628"/>
                    <a:gd name="connsiteY6" fmla="*/ 902494 h 1804628"/>
                    <a:gd name="connsiteX7" fmla="*/ 902928 w 1804628"/>
                    <a:gd name="connsiteY7" fmla="*/ 1353778 h 1804628"/>
                    <a:gd name="connsiteX8" fmla="*/ 452438 w 1804628"/>
                    <a:gd name="connsiteY8" fmla="*/ 902494 h 1804628"/>
                    <a:gd name="connsiteX9" fmla="*/ 902928 w 1804628"/>
                    <a:gd name="connsiteY9" fmla="*/ 450850 h 1804628"/>
                    <a:gd name="connsiteX10" fmla="*/ 1387295 w 1804628"/>
                    <a:gd name="connsiteY10" fmla="*/ 357188 h 1804628"/>
                    <a:gd name="connsiteX11" fmla="*/ 1447440 w 1804628"/>
                    <a:gd name="connsiteY11" fmla="*/ 416973 h 1804628"/>
                    <a:gd name="connsiteX12" fmla="*/ 1387295 w 1804628"/>
                    <a:gd name="connsiteY12" fmla="*/ 477478 h 1804628"/>
                    <a:gd name="connsiteX13" fmla="*/ 1327150 w 1804628"/>
                    <a:gd name="connsiteY13" fmla="*/ 416973 h 1804628"/>
                    <a:gd name="connsiteX14" fmla="*/ 1387295 w 1804628"/>
                    <a:gd name="connsiteY14" fmla="*/ 357188 h 1804628"/>
                    <a:gd name="connsiteX15" fmla="*/ 563968 w 1804628"/>
                    <a:gd name="connsiteY15" fmla="*/ 169262 h 1804628"/>
                    <a:gd name="connsiteX16" fmla="*/ 168902 w 1804628"/>
                    <a:gd name="connsiteY16" fmla="*/ 563969 h 1804628"/>
                    <a:gd name="connsiteX17" fmla="*/ 168902 w 1804628"/>
                    <a:gd name="connsiteY17" fmla="*/ 1241019 h 1804628"/>
                    <a:gd name="connsiteX18" fmla="*/ 563968 w 1804628"/>
                    <a:gd name="connsiteY18" fmla="*/ 1635365 h 1804628"/>
                    <a:gd name="connsiteX19" fmla="*/ 1240659 w 1804628"/>
                    <a:gd name="connsiteY19" fmla="*/ 1635365 h 1804628"/>
                    <a:gd name="connsiteX20" fmla="*/ 1635365 w 1804628"/>
                    <a:gd name="connsiteY20" fmla="*/ 1241019 h 1804628"/>
                    <a:gd name="connsiteX21" fmla="*/ 1635365 w 1804628"/>
                    <a:gd name="connsiteY21" fmla="*/ 563969 h 1804628"/>
                    <a:gd name="connsiteX22" fmla="*/ 1240659 w 1804628"/>
                    <a:gd name="connsiteY22" fmla="*/ 169262 h 1804628"/>
                    <a:gd name="connsiteX23" fmla="*/ 563968 w 1804628"/>
                    <a:gd name="connsiteY23" fmla="*/ 0 h 1804628"/>
                    <a:gd name="connsiteX24" fmla="*/ 1240659 w 1804628"/>
                    <a:gd name="connsiteY24" fmla="*/ 0 h 1804628"/>
                    <a:gd name="connsiteX25" fmla="*/ 1804628 w 1804628"/>
                    <a:gd name="connsiteY25" fmla="*/ 563969 h 1804628"/>
                    <a:gd name="connsiteX26" fmla="*/ 1804628 w 1804628"/>
                    <a:gd name="connsiteY26" fmla="*/ 1241019 h 1804628"/>
                    <a:gd name="connsiteX27" fmla="*/ 1240659 w 1804628"/>
                    <a:gd name="connsiteY27" fmla="*/ 1804628 h 1804628"/>
                    <a:gd name="connsiteX28" fmla="*/ 563968 w 1804628"/>
                    <a:gd name="connsiteY28" fmla="*/ 1804628 h 1804628"/>
                    <a:gd name="connsiteX29" fmla="*/ 0 w 1804628"/>
                    <a:gd name="connsiteY29" fmla="*/ 1241019 h 1804628"/>
                    <a:gd name="connsiteX30" fmla="*/ 0 w 1804628"/>
                    <a:gd name="connsiteY30" fmla="*/ 563969 h 1804628"/>
                    <a:gd name="connsiteX31" fmla="*/ 563968 w 1804628"/>
                    <a:gd name="connsiteY31" fmla="*/ 0 h 18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804628" h="1804628">
                      <a:moveTo>
                        <a:pt x="902928" y="620127"/>
                      </a:moveTo>
                      <a:cubicBezTo>
                        <a:pt x="747847" y="620127"/>
                        <a:pt x="621192" y="746544"/>
                        <a:pt x="621192" y="902494"/>
                      </a:cubicBezTo>
                      <a:cubicBezTo>
                        <a:pt x="621192" y="1057724"/>
                        <a:pt x="747847" y="1184502"/>
                        <a:pt x="902928" y="1184502"/>
                      </a:cubicBezTo>
                      <a:cubicBezTo>
                        <a:pt x="1058369" y="1184502"/>
                        <a:pt x="1185024" y="1057724"/>
                        <a:pt x="1185024" y="902494"/>
                      </a:cubicBezTo>
                      <a:cubicBezTo>
                        <a:pt x="1185024" y="746544"/>
                        <a:pt x="1058369" y="620127"/>
                        <a:pt x="902928" y="620127"/>
                      </a:cubicBezTo>
                      <a:close/>
                      <a:moveTo>
                        <a:pt x="902928" y="450850"/>
                      </a:moveTo>
                      <a:cubicBezTo>
                        <a:pt x="1152281" y="450850"/>
                        <a:pt x="1353778" y="653262"/>
                        <a:pt x="1353778" y="902494"/>
                      </a:cubicBezTo>
                      <a:cubicBezTo>
                        <a:pt x="1353778" y="1151367"/>
                        <a:pt x="1152281" y="1353778"/>
                        <a:pt x="902928" y="1353778"/>
                      </a:cubicBezTo>
                      <a:cubicBezTo>
                        <a:pt x="653935" y="1353778"/>
                        <a:pt x="452438" y="1151367"/>
                        <a:pt x="452438" y="902494"/>
                      </a:cubicBezTo>
                      <a:cubicBezTo>
                        <a:pt x="452438" y="653262"/>
                        <a:pt x="653935" y="450850"/>
                        <a:pt x="902928" y="450850"/>
                      </a:cubicBezTo>
                      <a:close/>
                      <a:moveTo>
                        <a:pt x="1387295" y="357188"/>
                      </a:moveTo>
                      <a:cubicBezTo>
                        <a:pt x="1420789" y="357188"/>
                        <a:pt x="1447440" y="383839"/>
                        <a:pt x="1447440" y="416973"/>
                      </a:cubicBezTo>
                      <a:cubicBezTo>
                        <a:pt x="1447440" y="450467"/>
                        <a:pt x="1420789" y="477478"/>
                        <a:pt x="1387295" y="477478"/>
                      </a:cubicBezTo>
                      <a:cubicBezTo>
                        <a:pt x="1354161" y="477478"/>
                        <a:pt x="1327150" y="450467"/>
                        <a:pt x="1327150" y="416973"/>
                      </a:cubicBezTo>
                      <a:cubicBezTo>
                        <a:pt x="1327150" y="383839"/>
                        <a:pt x="1354161" y="357188"/>
                        <a:pt x="1387295" y="357188"/>
                      </a:cubicBezTo>
                      <a:close/>
                      <a:moveTo>
                        <a:pt x="563968" y="169262"/>
                      </a:moveTo>
                      <a:cubicBezTo>
                        <a:pt x="346088" y="169262"/>
                        <a:pt x="168902" y="346088"/>
                        <a:pt x="168902" y="563969"/>
                      </a:cubicBezTo>
                      <a:lnTo>
                        <a:pt x="168902" y="1241019"/>
                      </a:lnTo>
                      <a:cubicBezTo>
                        <a:pt x="168902" y="1458540"/>
                        <a:pt x="346088" y="1635365"/>
                        <a:pt x="563968" y="1635365"/>
                      </a:cubicBezTo>
                      <a:lnTo>
                        <a:pt x="1240659" y="1635365"/>
                      </a:lnTo>
                      <a:cubicBezTo>
                        <a:pt x="1458540" y="1635365"/>
                        <a:pt x="1635365" y="1458540"/>
                        <a:pt x="1635365" y="1241019"/>
                      </a:cubicBezTo>
                      <a:lnTo>
                        <a:pt x="1635365" y="563969"/>
                      </a:lnTo>
                      <a:cubicBezTo>
                        <a:pt x="1635365" y="346088"/>
                        <a:pt x="1458540" y="169262"/>
                        <a:pt x="1240659" y="169262"/>
                      </a:cubicBezTo>
                      <a:close/>
                      <a:moveTo>
                        <a:pt x="563968" y="0"/>
                      </a:moveTo>
                      <a:lnTo>
                        <a:pt x="1240659" y="0"/>
                      </a:lnTo>
                      <a:cubicBezTo>
                        <a:pt x="1552175" y="0"/>
                        <a:pt x="1804628" y="252453"/>
                        <a:pt x="1804628" y="563969"/>
                      </a:cubicBezTo>
                      <a:lnTo>
                        <a:pt x="1804628" y="1241019"/>
                      </a:lnTo>
                      <a:cubicBezTo>
                        <a:pt x="1804628" y="1552175"/>
                        <a:pt x="1552175" y="1804628"/>
                        <a:pt x="1240659" y="1804628"/>
                      </a:cubicBezTo>
                      <a:lnTo>
                        <a:pt x="563968" y="1804628"/>
                      </a:lnTo>
                      <a:cubicBezTo>
                        <a:pt x="252453" y="1804628"/>
                        <a:pt x="0" y="1552175"/>
                        <a:pt x="0" y="1241019"/>
                      </a:cubicBezTo>
                      <a:lnTo>
                        <a:pt x="0" y="563969"/>
                      </a:lnTo>
                      <a:cubicBezTo>
                        <a:pt x="0" y="252453"/>
                        <a:pt x="252453" y="0"/>
                        <a:pt x="5639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8486680" y="566409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8374925" y="6676812"/>
                <a:ext cx="6836108" cy="1184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HK" sz="3250">
                    <a:solidFill>
                      <a:schemeClr val="accent3"/>
                    </a:solidFill>
                  </a:rPr>
                  <a:t>www.hkstp.org</a:t>
                </a:r>
                <a:endParaRPr lang="en-US" sz="325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2" name="Picture 10" descr="White linkedin icon - Free white site logo icons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2617" y="9509725"/>
              <a:ext cx="889696" cy="88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3" t="19429" r="51078" b="59111"/>
          <a:stretch/>
        </p:blipFill>
        <p:spPr>
          <a:xfrm>
            <a:off x="3754185" y="817513"/>
            <a:ext cx="4800632" cy="193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88085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0E92029-10BD-3848-BFB5-03553B7BB6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67260" y="1727686"/>
            <a:ext cx="10836467" cy="88807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buClr>
                <a:srgbClr val="00B050"/>
              </a:buClr>
              <a:buSzPct val="100000"/>
              <a:buFontTx/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Body text (pt. 12)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10924629" y="6397716"/>
            <a:ext cx="33214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459CD43B-5E66-4DF6-9F2B-224849DD4EE3}" type="slidenum">
              <a:rPr lang="en-US" sz="1100" smtClean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‹#›</a:t>
            </a:fld>
            <a:endParaRPr lang="en-US" sz="1050" dirty="0">
              <a:solidFill>
                <a:schemeClr val="bg1">
                  <a:lumMod val="50000"/>
                </a:schemeClr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10320588" y="6397716"/>
            <a:ext cx="68651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t>Pag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C6CE6489-AFF4-C14A-9517-87E661D2890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767260" y="2728480"/>
            <a:ext cx="10836467" cy="8880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buClr>
                <a:srgbClr val="00B050"/>
              </a:buClr>
              <a:buSzPct val="100000"/>
              <a:buFontTx/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Body text (pt. 14)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8A8FB3B4-2AFC-E94A-AA8E-225120E3E999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767260" y="3730086"/>
            <a:ext cx="10836467" cy="8880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buClr>
                <a:srgbClr val="00B050"/>
              </a:buClr>
              <a:buSzPct val="100000"/>
              <a:buFontTx/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Body text (pt. 16)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84827878-9B10-454D-8F87-FA4D71EB3A2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67260" y="4730439"/>
            <a:ext cx="10836467" cy="88807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SzPct val="100000"/>
              <a:buFontTx/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2pPr marL="457200" indent="0">
              <a:lnSpc>
                <a:spcPct val="130000"/>
              </a:lnSpc>
              <a:spcBef>
                <a:spcPts val="0"/>
              </a:spcBef>
              <a:buClr>
                <a:srgbClr val="00B050"/>
              </a:buClr>
              <a:buSzPct val="100000"/>
              <a:buFontTx/>
              <a:buNone/>
              <a:defRPr sz="18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2pPr>
            <a:lvl3pPr marL="914400" indent="0">
              <a:lnSpc>
                <a:spcPct val="130000"/>
              </a:lnSpc>
              <a:spcBef>
                <a:spcPts val="0"/>
              </a:spcBef>
              <a:buFontTx/>
              <a:buNone/>
              <a:defRPr sz="16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3pPr>
            <a:lvl4pPr marL="1371600" indent="0">
              <a:lnSpc>
                <a:spcPct val="130000"/>
              </a:lnSpc>
              <a:spcBef>
                <a:spcPts val="0"/>
              </a:spcBef>
              <a:buFontTx/>
              <a:buNone/>
              <a:defRPr sz="14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4pPr>
            <a:lvl5pPr marL="1828800" indent="0">
              <a:lnSpc>
                <a:spcPct val="130000"/>
              </a:lnSpc>
              <a:spcBef>
                <a:spcPts val="0"/>
              </a:spcBef>
              <a:buFontTx/>
              <a:buNone/>
              <a:defRPr sz="120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5pPr>
          </a:lstStyle>
          <a:p>
            <a:pPr lvl="0"/>
            <a:r>
              <a:rPr lang="en-US" dirty="0"/>
              <a:t>Body text (pt. 18)</a:t>
            </a:r>
          </a:p>
        </p:txBody>
      </p:sp>
      <p:sp>
        <p:nvSpPr>
          <p:cNvPr id="11" name="Title 12">
            <a:extLst>
              <a:ext uri="{FF2B5EF4-FFF2-40B4-BE49-F238E27FC236}">
                <a16:creationId xmlns:a16="http://schemas.microsoft.com/office/drawing/2014/main" id="{5CDD0CAE-66CA-BF4F-B6F4-E5A18F9D86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7260" y="795500"/>
            <a:ext cx="8929240" cy="46609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2400"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</a:lstStyle>
          <a:p>
            <a:r>
              <a:rPr lang="en-US" dirty="0"/>
              <a:t>Headline (pt.24)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721BD87B-09A9-6D40-AA38-21FE3561EB1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67260" y="1221498"/>
            <a:ext cx="10836467" cy="32663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600" b="1" i="0">
                <a:solidFill>
                  <a:srgbClr val="FF6A13"/>
                </a:solidFill>
                <a:latin typeface="Source Sans Pro" panose="020B0503030403020204" pitchFamily="34" charset="0"/>
                <a:ea typeface="Source Sans Pro" panose="020B0503030403020204" pitchFamily="34" charset="0"/>
              </a:defRPr>
            </a:lvl1pPr>
            <a:lvl5pPr marL="2419350" indent="0" algn="l">
              <a:buFontTx/>
              <a:buNone/>
              <a:defRPr/>
            </a:lvl5pPr>
          </a:lstStyle>
          <a:p>
            <a:pPr lvl="0"/>
            <a:r>
              <a:rPr lang="en-US" dirty="0"/>
              <a:t>Subhead (pt.16)</a:t>
            </a:r>
          </a:p>
        </p:txBody>
      </p:sp>
    </p:spTree>
    <p:extLst>
      <p:ext uri="{BB962C8B-B14F-4D97-AF65-F5344CB8AC3E}">
        <p14:creationId xmlns:p14="http://schemas.microsoft.com/office/powerpoint/2010/main" val="219947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C:\Users\Wkk\Desktop\STP\pic\hkstp_response-to-ces-2018-policy-address-crop.jp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" y="6"/>
            <a:ext cx="12191997" cy="6865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Freeform 5"/>
          <p:cNvSpPr/>
          <p:nvPr userDrawn="1"/>
        </p:nvSpPr>
        <p:spPr>
          <a:xfrm>
            <a:off x="-1" y="1670431"/>
            <a:ext cx="5613583" cy="2290275"/>
          </a:xfrm>
          <a:custGeom>
            <a:avLst/>
            <a:gdLst>
              <a:gd name="connsiteX0" fmla="*/ 0 w 5347138"/>
              <a:gd name="connsiteY0" fmla="*/ 0 h 1105317"/>
              <a:gd name="connsiteX1" fmla="*/ 5347138 w 5347138"/>
              <a:gd name="connsiteY1" fmla="*/ 0 h 1105317"/>
              <a:gd name="connsiteX2" fmla="*/ 4704794 w 5347138"/>
              <a:gd name="connsiteY2" fmla="*/ 1105317 h 1105317"/>
              <a:gd name="connsiteX3" fmla="*/ 0 w 5347138"/>
              <a:gd name="connsiteY3" fmla="*/ 1105317 h 1105317"/>
              <a:gd name="connsiteX4" fmla="*/ 0 w 5347138"/>
              <a:gd name="connsiteY4" fmla="*/ 0 h 11053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47138" h="1105317">
                <a:moveTo>
                  <a:pt x="0" y="0"/>
                </a:moveTo>
                <a:lnTo>
                  <a:pt x="5347138" y="0"/>
                </a:lnTo>
                <a:lnTo>
                  <a:pt x="4704794" y="1105317"/>
                </a:lnTo>
                <a:lnTo>
                  <a:pt x="0" y="1105317"/>
                </a:lnTo>
                <a:lnTo>
                  <a:pt x="0" y="0"/>
                </a:lnTo>
                <a:close/>
              </a:path>
            </a:pathLst>
          </a:custGeom>
          <a:solidFill>
            <a:srgbClr val="F08028">
              <a:alpha val="7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436" tIns="45719" rIns="91436" bIns="45719" spcCol="0" rtlCol="0" anchor="ctr">
            <a:noAutofit/>
          </a:bodyPr>
          <a:lstStyle/>
          <a:p>
            <a:pPr algn="ctr"/>
            <a:endParaRPr lang="en-US" sz="2400"/>
          </a:p>
        </p:txBody>
      </p:sp>
      <p:pic>
        <p:nvPicPr>
          <p:cNvPr id="3" name="Picture 2" descr="C:\Users\Wkk\Desktop\STP\source\ppt\media\image87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65021" y="334213"/>
            <a:ext cx="2062721" cy="924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>
            <a:spLocks/>
          </p:cNvSpPr>
          <p:nvPr userDrawn="1"/>
        </p:nvSpPr>
        <p:spPr>
          <a:xfrm>
            <a:off x="188682" y="1789646"/>
            <a:ext cx="5363505" cy="24625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altLang="zh-CN" sz="2667" b="1" i="1" dirty="0">
                <a:solidFill>
                  <a:schemeClr val="bg1"/>
                </a:solidFill>
                <a:latin typeface="+mj-lt"/>
                <a:ea typeface="Microsoft JhengHei" panose="020B0604030504040204" pitchFamily="34" charset="-120"/>
              </a:rPr>
              <a:t>Expansive Tech Ecosystem</a:t>
            </a:r>
          </a:p>
          <a:p>
            <a:endParaRPr lang="en-US" altLang="zh-CN" sz="2667" b="1" i="1" dirty="0">
              <a:solidFill>
                <a:schemeClr val="bg1"/>
              </a:solidFill>
              <a:latin typeface="+mj-lt"/>
              <a:ea typeface="Microsoft JhengHei" panose="020B0604030504040204" pitchFamily="34" charset="-120"/>
            </a:endParaRPr>
          </a:p>
          <a:p>
            <a:r>
              <a:rPr lang="en-US" altLang="zh-CN" sz="2667" b="1" i="1" dirty="0">
                <a:solidFill>
                  <a:schemeClr val="bg1"/>
                </a:solidFill>
                <a:latin typeface="+mj-lt"/>
                <a:ea typeface="Microsoft JhengHei" panose="020B0604030504040204" pitchFamily="34" charset="-120"/>
              </a:rPr>
              <a:t>Unprecedented Opportunity</a:t>
            </a:r>
          </a:p>
          <a:p>
            <a:endParaRPr lang="en-US" altLang="zh-CN" sz="2667" b="1" i="1" dirty="0">
              <a:solidFill>
                <a:schemeClr val="bg1"/>
              </a:solidFill>
              <a:latin typeface="+mj-lt"/>
              <a:ea typeface="Microsoft JhengHei" panose="020B0604030504040204" pitchFamily="34" charset="-120"/>
            </a:endParaRPr>
          </a:p>
          <a:p>
            <a:r>
              <a:rPr lang="en-US" altLang="zh-CN" sz="2667" b="1" i="1" dirty="0">
                <a:solidFill>
                  <a:schemeClr val="bg1"/>
                </a:solidFill>
                <a:latin typeface="+mj-lt"/>
                <a:ea typeface="Microsoft JhengHei" panose="020B0604030504040204" pitchFamily="34" charset="-120"/>
              </a:rPr>
              <a:t>Trusted Partnership</a:t>
            </a:r>
          </a:p>
          <a:p>
            <a:endParaRPr lang="en-US" altLang="zh-CN" sz="2667" b="1" i="1" dirty="0">
              <a:solidFill>
                <a:schemeClr val="bg1"/>
              </a:solidFill>
              <a:latin typeface="+mj-lt"/>
              <a:ea typeface="Microsoft JhengHei" panose="020B0604030504040204" pitchFamily="34" charset="-120"/>
            </a:endParaRPr>
          </a:p>
        </p:txBody>
      </p:sp>
      <p:sp>
        <p:nvSpPr>
          <p:cNvPr id="5" name="TextBox 4"/>
          <p:cNvSpPr txBox="1"/>
          <p:nvPr userDrawn="1"/>
        </p:nvSpPr>
        <p:spPr>
          <a:xfrm>
            <a:off x="3714877" y="5110472"/>
            <a:ext cx="8492363" cy="1200329"/>
          </a:xfrm>
          <a:prstGeom prst="rect">
            <a:avLst/>
          </a:prstGeom>
          <a:solidFill>
            <a:srgbClr val="F08028">
              <a:alpha val="78824"/>
            </a:srgbClr>
          </a:solidFill>
        </p:spPr>
        <p:txBody>
          <a:bodyPr wrap="square" rtlCol="0">
            <a:spAutoFit/>
          </a:bodyPr>
          <a:lstStyle/>
          <a:p>
            <a:pPr algn="r"/>
            <a:endParaRPr lang="en-US" sz="2400" dirty="0">
              <a:solidFill>
                <a:schemeClr val="bg1"/>
              </a:solidFill>
            </a:endParaRPr>
          </a:p>
          <a:p>
            <a:pPr algn="r"/>
            <a:endParaRPr lang="en-US" sz="2400" dirty="0">
              <a:solidFill>
                <a:schemeClr val="bg1"/>
              </a:solidFill>
            </a:endParaRPr>
          </a:p>
          <a:p>
            <a:pPr algn="r"/>
            <a:endParaRPr lang="en-US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36886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91" y="1591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591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"/>
            </p:custDataLst>
          </p:nvPr>
        </p:nvSpPr>
        <p:spPr>
          <a:xfrm>
            <a:off x="45" y="47"/>
            <a:ext cx="158751" cy="1587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3697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>
              <a:solidFill>
                <a:prstClr val="white"/>
              </a:solidFill>
              <a:latin typeface="Microsoft JhengHei" panose="020B0604030504040204" pitchFamily="34" charset="-120"/>
              <a:ea typeface="Microsoft JhengHei" panose="020B0604030504040204" pitchFamily="34" charset="-120"/>
              <a:cs typeface="+mj-cs"/>
              <a:sym typeface="Microsoft JhengHei" panose="020B0604030504040204" pitchFamily="34" charset="-12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294390-5541-384D-A6D3-894BBB2BA7AB}" type="datetime1">
              <a:rPr lang="en-HK" smtClean="0">
                <a:solidFill>
                  <a:prstClr val="black">
                    <a:tint val="75000"/>
                  </a:prstClr>
                </a:solidFill>
              </a:rPr>
              <a:pPr/>
              <a:t>4/4/202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0E9F3AF-264C-AD44-8AAE-F2CD3CF29CE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923554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0086" y="1019969"/>
            <a:ext cx="11520086" cy="5451475"/>
          </a:xfrm>
        </p:spPr>
        <p:txBody>
          <a:bodyPr/>
          <a:lstStyle>
            <a:lvl1pPr marL="228555" indent="-228555">
              <a:buFontTx/>
              <a:buBlip>
                <a:blip r:embed="rId2"/>
              </a:buBlip>
              <a:defRPr>
                <a:latin typeface="+mn-lt"/>
              </a:defRPr>
            </a:lvl1pPr>
            <a:lvl2pPr marL="685663" indent="-228555">
              <a:buFontTx/>
              <a:buBlip>
                <a:blip r:embed="rId2"/>
              </a:buBlip>
              <a:defRPr>
                <a:latin typeface="+mn-lt"/>
              </a:defRPr>
            </a:lvl2pPr>
            <a:lvl3pPr marL="1142772" indent="-228555">
              <a:buFontTx/>
              <a:buBlip>
                <a:blip r:embed="rId2"/>
              </a:buBlip>
              <a:defRPr>
                <a:latin typeface="+mn-lt"/>
              </a:defRPr>
            </a:lvl3pPr>
            <a:lvl4pPr marL="1599880" indent="-228555">
              <a:buFontTx/>
              <a:buBlip>
                <a:blip r:embed="rId2"/>
              </a:buBlip>
              <a:defRPr>
                <a:latin typeface="+mn-lt"/>
              </a:defRPr>
            </a:lvl4pPr>
            <a:lvl5pPr marL="2056989" indent="-228555">
              <a:buFontTx/>
              <a:buBlip>
                <a:blip r:embed="rId2"/>
              </a:buBlip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8577665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964" y="-1"/>
            <a:ext cx="11916684" cy="685364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94487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409655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75879" y="4815841"/>
            <a:ext cx="8483195" cy="406186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dirty="0"/>
              <a:t>Date (i.e. 202010.30)</a:t>
            </a:r>
          </a:p>
          <a:p>
            <a:pPr lvl="0"/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5879" y="5210856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45941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593" y="0"/>
            <a:ext cx="11907554" cy="68623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8640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363487"/>
            <a:ext cx="8483195" cy="1221515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  <a:p>
            <a:pPr lvl="0"/>
            <a:r>
              <a:rPr lang="en-HK" dirty="0"/>
              <a:t>Date (i.e. 202010.30)</a:t>
            </a:r>
          </a:p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70791324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FC1CD19-B242-4241-9E8D-E52D4F20B202}"/>
              </a:ext>
            </a:extLst>
          </p:cNvPr>
          <p:cNvSpPr txBox="1"/>
          <p:nvPr userDrawn="1"/>
        </p:nvSpPr>
        <p:spPr>
          <a:xfrm>
            <a:off x="5566853" y="289567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1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19466F-ACB2-8D49-B05A-4B51B5024F7C}"/>
              </a:ext>
            </a:extLst>
          </p:cNvPr>
          <p:cNvSpPr txBox="1"/>
          <p:nvPr userDrawn="1"/>
        </p:nvSpPr>
        <p:spPr>
          <a:xfrm>
            <a:off x="5632575" y="589648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1"/>
                </a:solidFill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D06593-BEE5-1C4A-8717-41A96FDA4158}"/>
              </a:ext>
            </a:extLst>
          </p:cNvPr>
          <p:cNvSpPr txBox="1"/>
          <p:nvPr userDrawn="1"/>
        </p:nvSpPr>
        <p:spPr>
          <a:xfrm>
            <a:off x="5566853" y="1536568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2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2C15D2-5286-2B4F-9F7D-1FFCAAD39622}"/>
              </a:ext>
            </a:extLst>
          </p:cNvPr>
          <p:cNvSpPr txBox="1"/>
          <p:nvPr userDrawn="1"/>
        </p:nvSpPr>
        <p:spPr>
          <a:xfrm>
            <a:off x="5632575" y="1836650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2"/>
                </a:solidFill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1B8393-7BC2-1140-8D4D-2250550A3F2A}"/>
              </a:ext>
            </a:extLst>
          </p:cNvPr>
          <p:cNvSpPr txBox="1"/>
          <p:nvPr userDrawn="1"/>
        </p:nvSpPr>
        <p:spPr>
          <a:xfrm>
            <a:off x="5566853" y="2783569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3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3C6AF-7D12-FF42-81D1-CD4583B2A58E}"/>
              </a:ext>
            </a:extLst>
          </p:cNvPr>
          <p:cNvSpPr txBox="1"/>
          <p:nvPr userDrawn="1"/>
        </p:nvSpPr>
        <p:spPr>
          <a:xfrm>
            <a:off x="5632575" y="3083651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3"/>
                </a:solidFill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2293BD-E57D-334A-9CA0-D8B758CB8403}"/>
              </a:ext>
            </a:extLst>
          </p:cNvPr>
          <p:cNvSpPr txBox="1"/>
          <p:nvPr userDrawn="1"/>
        </p:nvSpPr>
        <p:spPr>
          <a:xfrm>
            <a:off x="5566853" y="4030570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4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E3177D-A949-6E4A-8254-F8506A387C71}"/>
              </a:ext>
            </a:extLst>
          </p:cNvPr>
          <p:cNvSpPr txBox="1"/>
          <p:nvPr userDrawn="1"/>
        </p:nvSpPr>
        <p:spPr>
          <a:xfrm>
            <a:off x="5632575" y="4330652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4"/>
                </a:solidFill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843923-C13C-EF40-A8AE-D434D3180793}"/>
              </a:ext>
            </a:extLst>
          </p:cNvPr>
          <p:cNvSpPr txBox="1"/>
          <p:nvPr userDrawn="1"/>
        </p:nvSpPr>
        <p:spPr>
          <a:xfrm>
            <a:off x="5566853" y="5277572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5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BB2442-641A-754F-8859-958EF846B10B}"/>
              </a:ext>
            </a:extLst>
          </p:cNvPr>
          <p:cNvSpPr txBox="1"/>
          <p:nvPr userDrawn="1"/>
        </p:nvSpPr>
        <p:spPr>
          <a:xfrm>
            <a:off x="5632575" y="5577653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0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24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26" name="Title 14"/>
          <p:cNvSpPr txBox="1">
            <a:spLocks/>
          </p:cNvSpPr>
          <p:nvPr userDrawn="1"/>
        </p:nvSpPr>
        <p:spPr>
          <a:xfrm>
            <a:off x="557659" y="5743070"/>
            <a:ext cx="4496051" cy="725117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1" i="0" kern="1200">
                <a:solidFill>
                  <a:schemeClr val="bg1">
                    <a:lumMod val="50000"/>
                  </a:schemeClr>
                </a:solidFill>
                <a:latin typeface="+mn-lt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algn="ctr"/>
            <a:r>
              <a:rPr lang="en-HK" sz="3000" cap="all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797930" y="6562538"/>
            <a:ext cx="6107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6796299" y="52484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1]</a:t>
            </a:r>
            <a:endParaRPr lang="en-US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6796600" y="86668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95998" y="17718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2]</a:t>
            </a:r>
            <a:endParaRPr lang="en-US" dirty="0"/>
          </a:p>
        </p:txBody>
      </p:sp>
      <p:sp>
        <p:nvSpPr>
          <p:cNvPr id="34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796299" y="21137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4" hasCustomPrompt="1"/>
          </p:nvPr>
        </p:nvSpPr>
        <p:spPr>
          <a:xfrm>
            <a:off x="6795697" y="30297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3]</a:t>
            </a:r>
            <a:endParaRPr lang="en-US" dirty="0"/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795998" y="33716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6795396" y="4299183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4]</a:t>
            </a:r>
            <a:endParaRPr lang="en-US" dirty="0"/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7" hasCustomPrompt="1"/>
          </p:nvPr>
        </p:nvSpPr>
        <p:spPr>
          <a:xfrm>
            <a:off x="6795697" y="4641023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9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6796600" y="553473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5]</a:t>
            </a:r>
            <a:endParaRPr lang="en-US" dirty="0"/>
          </a:p>
        </p:txBody>
      </p:sp>
      <p:sp>
        <p:nvSpPr>
          <p:cNvPr id="40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796901" y="587657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-931"/>
            <a:ext cx="4902926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208599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83335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A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"/>
          <a:stretch/>
        </p:blipFill>
        <p:spPr>
          <a:xfrm>
            <a:off x="6460435" y="0"/>
            <a:ext cx="572860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7926504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94" r="17909"/>
          <a:stretch/>
        </p:blipFill>
        <p:spPr>
          <a:xfrm>
            <a:off x="5660571" y="0"/>
            <a:ext cx="653142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8830" y="6562538"/>
            <a:ext cx="8873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30824839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C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031" y="0"/>
            <a:ext cx="579696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278829" y="6562538"/>
            <a:ext cx="8987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018946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6D603-6C0A-4CE5-B514-024330CA97FD}" type="datetime1">
              <a:rPr lang="en-US" smtClean="0"/>
              <a:t>4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F2FE7-8CE3-4984-AA46-E2B35FBCC2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21028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1504" y="0"/>
            <a:ext cx="62005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8829" y="6562538"/>
            <a:ext cx="97447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9388229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6306399" y="0"/>
            <a:ext cx="5885601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78829" y="6562538"/>
            <a:ext cx="9474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5301751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5711242" y="0"/>
            <a:ext cx="3339865" cy="686695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569146" y="1427162"/>
            <a:ext cx="4995576" cy="43275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82622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0086" y="1019969"/>
            <a:ext cx="11520086" cy="5451475"/>
          </a:xfrm>
        </p:spPr>
        <p:txBody>
          <a:bodyPr/>
          <a:lstStyle>
            <a:lvl1pPr marL="228555" indent="-228555">
              <a:buFontTx/>
              <a:buBlip>
                <a:blip r:embed="rId2"/>
              </a:buBlip>
              <a:defRPr>
                <a:latin typeface="+mn-lt"/>
              </a:defRPr>
            </a:lvl1pPr>
            <a:lvl2pPr marL="685663" indent="-228555">
              <a:buFontTx/>
              <a:buBlip>
                <a:blip r:embed="rId2"/>
              </a:buBlip>
              <a:defRPr>
                <a:latin typeface="+mn-lt"/>
              </a:defRPr>
            </a:lvl2pPr>
            <a:lvl3pPr marL="1142772" indent="-228555">
              <a:buFontTx/>
              <a:buBlip>
                <a:blip r:embed="rId2"/>
              </a:buBlip>
              <a:defRPr>
                <a:latin typeface="+mn-lt"/>
              </a:defRPr>
            </a:lvl3pPr>
            <a:lvl4pPr marL="1599880" indent="-228555">
              <a:buFontTx/>
              <a:buBlip>
                <a:blip r:embed="rId2"/>
              </a:buBlip>
              <a:defRPr>
                <a:latin typeface="+mn-lt"/>
              </a:defRPr>
            </a:lvl4pPr>
            <a:lvl5pPr marL="2056989" indent="-228555">
              <a:buFontTx/>
              <a:buBlip>
                <a:blip r:embed="rId2"/>
              </a:buBlip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175682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7391" y="1262541"/>
            <a:ext cx="4985675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2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639684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9772" y="1262541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89829" y="1262670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7984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795" y="102569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024567" y="1025692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0700" y="378713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6795" y="3799503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02924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61454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799237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22220" cy="433346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811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593" y="0"/>
            <a:ext cx="11907554" cy="68623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8640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rgbClr val="000000">
              <a:alpha val="40000"/>
            </a:srgb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363487"/>
            <a:ext cx="8483195" cy="1221515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  <a:p>
            <a:pPr lvl="0"/>
            <a:r>
              <a:rPr lang="en-HK" dirty="0"/>
              <a:t>Date (i.e. 202010.30)</a:t>
            </a:r>
          </a:p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764506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3171" cy="42759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740020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1678" cy="436299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916802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276297" y="0"/>
            <a:ext cx="11915703" cy="4314825"/>
          </a:xfrm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0549295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354036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4265343" y="3975043"/>
            <a:ext cx="3418944" cy="1376738"/>
            <a:chOff x="8528465" y="7950086"/>
            <a:chExt cx="6836108" cy="2753476"/>
          </a:xfrm>
        </p:grpSpPr>
        <p:grpSp>
          <p:nvGrpSpPr>
            <p:cNvPr id="11" name="Group 10"/>
            <p:cNvGrpSpPr/>
            <p:nvPr/>
          </p:nvGrpSpPr>
          <p:grpSpPr>
            <a:xfrm>
              <a:off x="8528465" y="7950086"/>
              <a:ext cx="6836108" cy="2753476"/>
              <a:chOff x="8374925" y="6676812"/>
              <a:chExt cx="6836108" cy="275347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374925" y="7950086"/>
                <a:ext cx="6836108" cy="1480202"/>
                <a:chOff x="13130764" y="5664086"/>
                <a:chExt cx="6836108" cy="148020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64A36400-CC94-5944-9B6E-748029E0EF99}"/>
                    </a:ext>
                  </a:extLst>
                </p:cNvPr>
                <p:cNvSpPr/>
                <p:nvPr/>
              </p:nvSpPr>
              <p:spPr>
                <a:xfrm>
                  <a:off x="13130764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6" name="Freeform 1">
                  <a:extLst>
                    <a:ext uri="{FF2B5EF4-FFF2-40B4-BE49-F238E27FC236}">
                      <a16:creationId xmlns:a16="http://schemas.microsoft.com/office/drawing/2014/main" id="{0C0946D3-D99A-3F49-A310-2F87A03BF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57458" y="5947177"/>
                  <a:ext cx="426805" cy="914008"/>
                </a:xfrm>
                <a:custGeom>
                  <a:avLst/>
                  <a:gdLst>
                    <a:gd name="T0" fmla="*/ 303 w 1401"/>
                    <a:gd name="T1" fmla="*/ 582 h 3001"/>
                    <a:gd name="T2" fmla="*/ 303 w 1401"/>
                    <a:gd name="T3" fmla="*/ 994 h 3001"/>
                    <a:gd name="T4" fmla="*/ 0 w 1401"/>
                    <a:gd name="T5" fmla="*/ 994 h 3001"/>
                    <a:gd name="T6" fmla="*/ 0 w 1401"/>
                    <a:gd name="T7" fmla="*/ 1499 h 3001"/>
                    <a:gd name="T8" fmla="*/ 303 w 1401"/>
                    <a:gd name="T9" fmla="*/ 1499 h 3001"/>
                    <a:gd name="T10" fmla="*/ 303 w 1401"/>
                    <a:gd name="T11" fmla="*/ 3000 h 3001"/>
                    <a:gd name="T12" fmla="*/ 924 w 1401"/>
                    <a:gd name="T13" fmla="*/ 3000 h 3001"/>
                    <a:gd name="T14" fmla="*/ 924 w 1401"/>
                    <a:gd name="T15" fmla="*/ 1500 h 3001"/>
                    <a:gd name="T16" fmla="*/ 1341 w 1401"/>
                    <a:gd name="T17" fmla="*/ 1500 h 3001"/>
                    <a:gd name="T18" fmla="*/ 1341 w 1401"/>
                    <a:gd name="T19" fmla="*/ 1500 h 3001"/>
                    <a:gd name="T20" fmla="*/ 1399 w 1401"/>
                    <a:gd name="T21" fmla="*/ 993 h 3001"/>
                    <a:gd name="T22" fmla="*/ 926 w 1401"/>
                    <a:gd name="T23" fmla="*/ 993 h 3001"/>
                    <a:gd name="T24" fmla="*/ 926 w 1401"/>
                    <a:gd name="T25" fmla="*/ 647 h 3001"/>
                    <a:gd name="T26" fmla="*/ 926 w 1401"/>
                    <a:gd name="T27" fmla="*/ 647 h 3001"/>
                    <a:gd name="T28" fmla="*/ 1061 w 1401"/>
                    <a:gd name="T29" fmla="*/ 526 h 3001"/>
                    <a:gd name="T30" fmla="*/ 1400 w 1401"/>
                    <a:gd name="T31" fmla="*/ 526 h 3001"/>
                    <a:gd name="T32" fmla="*/ 1400 w 1401"/>
                    <a:gd name="T33" fmla="*/ 0 h 3001"/>
                    <a:gd name="T34" fmla="*/ 939 w 1401"/>
                    <a:gd name="T35" fmla="*/ 0 h 3001"/>
                    <a:gd name="T36" fmla="*/ 939 w 1401"/>
                    <a:gd name="T37" fmla="*/ 0 h 3001"/>
                    <a:gd name="T38" fmla="*/ 303 w 1401"/>
                    <a:gd name="T39" fmla="*/ 582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01" h="3001">
                      <a:moveTo>
                        <a:pt x="303" y="582"/>
                      </a:moveTo>
                      <a:lnTo>
                        <a:pt x="303" y="994"/>
                      </a:lnTo>
                      <a:lnTo>
                        <a:pt x="0" y="994"/>
                      </a:lnTo>
                      <a:lnTo>
                        <a:pt x="0" y="1499"/>
                      </a:lnTo>
                      <a:lnTo>
                        <a:pt x="303" y="1499"/>
                      </a:lnTo>
                      <a:lnTo>
                        <a:pt x="303" y="3000"/>
                      </a:lnTo>
                      <a:lnTo>
                        <a:pt x="924" y="3000"/>
                      </a:lnTo>
                      <a:lnTo>
                        <a:pt x="924" y="1500"/>
                      </a:lnTo>
                      <a:lnTo>
                        <a:pt x="1341" y="1500"/>
                      </a:lnTo>
                      <a:lnTo>
                        <a:pt x="1341" y="1500"/>
                      </a:lnTo>
                      <a:cubicBezTo>
                        <a:pt x="1341" y="1500"/>
                        <a:pt x="1380" y="1257"/>
                        <a:pt x="1399" y="993"/>
                      </a:cubicBezTo>
                      <a:lnTo>
                        <a:pt x="926" y="993"/>
                      </a:lnTo>
                      <a:lnTo>
                        <a:pt x="926" y="647"/>
                      </a:lnTo>
                      <a:lnTo>
                        <a:pt x="926" y="647"/>
                      </a:lnTo>
                      <a:cubicBezTo>
                        <a:pt x="926" y="596"/>
                        <a:pt x="994" y="526"/>
                        <a:pt x="1061" y="526"/>
                      </a:cubicBezTo>
                      <a:lnTo>
                        <a:pt x="1400" y="526"/>
                      </a:lnTo>
                      <a:lnTo>
                        <a:pt x="1400" y="0"/>
                      </a:lnTo>
                      <a:lnTo>
                        <a:pt x="939" y="0"/>
                      </a:lnTo>
                      <a:lnTo>
                        <a:pt x="939" y="0"/>
                      </a:lnTo>
                      <a:cubicBezTo>
                        <a:pt x="287" y="0"/>
                        <a:pt x="303" y="506"/>
                        <a:pt x="303" y="58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06FAB05E-CE5A-A845-87CD-424BC03CA7F7}"/>
                    </a:ext>
                  </a:extLst>
                </p:cNvPr>
                <p:cNvSpPr/>
                <p:nvPr/>
              </p:nvSpPr>
              <p:spPr>
                <a:xfrm>
                  <a:off x="14916561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8" name="Freeform 3">
                  <a:extLst>
                    <a:ext uri="{FF2B5EF4-FFF2-40B4-BE49-F238E27FC236}">
                      <a16:creationId xmlns:a16="http://schemas.microsoft.com/office/drawing/2014/main" id="{45723339-63E7-7E4F-A0F7-4B02C15A4C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11033" y="6103223"/>
                  <a:ext cx="894037" cy="614110"/>
                </a:xfrm>
                <a:custGeom>
                  <a:avLst/>
                  <a:gdLst>
                    <a:gd name="T0" fmla="*/ 1880 w 5013"/>
                    <a:gd name="T1" fmla="*/ 2663 h 3446"/>
                    <a:gd name="T2" fmla="*/ 1880 w 5013"/>
                    <a:gd name="T3" fmla="*/ 783 h 3446"/>
                    <a:gd name="T4" fmla="*/ 3446 w 5013"/>
                    <a:gd name="T5" fmla="*/ 1723 h 3446"/>
                    <a:gd name="T6" fmla="*/ 1880 w 5013"/>
                    <a:gd name="T7" fmla="*/ 2663 h 3446"/>
                    <a:gd name="T8" fmla="*/ 4799 w 5013"/>
                    <a:gd name="T9" fmla="*/ 332 h 3446"/>
                    <a:gd name="T10" fmla="*/ 4799 w 5013"/>
                    <a:gd name="T11" fmla="*/ 332 h 3446"/>
                    <a:gd name="T12" fmla="*/ 4215 w 5013"/>
                    <a:gd name="T13" fmla="*/ 28 h 3446"/>
                    <a:gd name="T14" fmla="*/ 4215 w 5013"/>
                    <a:gd name="T15" fmla="*/ 28 h 3446"/>
                    <a:gd name="T16" fmla="*/ 2507 w 5013"/>
                    <a:gd name="T17" fmla="*/ 0 h 3446"/>
                    <a:gd name="T18" fmla="*/ 2507 w 5013"/>
                    <a:gd name="T19" fmla="*/ 0 h 3446"/>
                    <a:gd name="T20" fmla="*/ 797 w 5013"/>
                    <a:gd name="T21" fmla="*/ 28 h 3446"/>
                    <a:gd name="T22" fmla="*/ 797 w 5013"/>
                    <a:gd name="T23" fmla="*/ 28 h 3446"/>
                    <a:gd name="T24" fmla="*/ 212 w 5013"/>
                    <a:gd name="T25" fmla="*/ 332 h 3446"/>
                    <a:gd name="T26" fmla="*/ 212 w 5013"/>
                    <a:gd name="T27" fmla="*/ 332 h 3446"/>
                    <a:gd name="T28" fmla="*/ 0 w 5013"/>
                    <a:gd name="T29" fmla="*/ 1722 h 3446"/>
                    <a:gd name="T30" fmla="*/ 0 w 5013"/>
                    <a:gd name="T31" fmla="*/ 1723 h 3446"/>
                    <a:gd name="T32" fmla="*/ 0 w 5013"/>
                    <a:gd name="T33" fmla="*/ 1723 h 3446"/>
                    <a:gd name="T34" fmla="*/ 0 w 5013"/>
                    <a:gd name="T35" fmla="*/ 1724 h 3446"/>
                    <a:gd name="T36" fmla="*/ 0 w 5013"/>
                    <a:gd name="T37" fmla="*/ 1724 h 3446"/>
                    <a:gd name="T38" fmla="*/ 212 w 5013"/>
                    <a:gd name="T39" fmla="*/ 3111 h 3446"/>
                    <a:gd name="T40" fmla="*/ 212 w 5013"/>
                    <a:gd name="T41" fmla="*/ 3111 h 3446"/>
                    <a:gd name="T42" fmla="*/ 797 w 5013"/>
                    <a:gd name="T43" fmla="*/ 3418 h 3446"/>
                    <a:gd name="T44" fmla="*/ 797 w 5013"/>
                    <a:gd name="T45" fmla="*/ 3418 h 3446"/>
                    <a:gd name="T46" fmla="*/ 2507 w 5013"/>
                    <a:gd name="T47" fmla="*/ 3445 h 3446"/>
                    <a:gd name="T48" fmla="*/ 2507 w 5013"/>
                    <a:gd name="T49" fmla="*/ 3445 h 3446"/>
                    <a:gd name="T50" fmla="*/ 4215 w 5013"/>
                    <a:gd name="T51" fmla="*/ 3418 h 3446"/>
                    <a:gd name="T52" fmla="*/ 4215 w 5013"/>
                    <a:gd name="T53" fmla="*/ 3418 h 3446"/>
                    <a:gd name="T54" fmla="*/ 4799 w 5013"/>
                    <a:gd name="T55" fmla="*/ 3112 h 3446"/>
                    <a:gd name="T56" fmla="*/ 4799 w 5013"/>
                    <a:gd name="T57" fmla="*/ 3112 h 3446"/>
                    <a:gd name="T58" fmla="*/ 5012 w 5013"/>
                    <a:gd name="T59" fmla="*/ 1725 h 3446"/>
                    <a:gd name="T60" fmla="*/ 5012 w 5013"/>
                    <a:gd name="T61" fmla="*/ 1723 h 3446"/>
                    <a:gd name="T62" fmla="*/ 5012 w 5013"/>
                    <a:gd name="T63" fmla="*/ 1722 h 3446"/>
                    <a:gd name="T64" fmla="*/ 5012 w 5013"/>
                    <a:gd name="T65" fmla="*/ 1722 h 3446"/>
                    <a:gd name="T66" fmla="*/ 4799 w 5013"/>
                    <a:gd name="T67" fmla="*/ 332 h 3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13" h="3446">
                      <a:moveTo>
                        <a:pt x="1880" y="2663"/>
                      </a:moveTo>
                      <a:lnTo>
                        <a:pt x="1880" y="783"/>
                      </a:lnTo>
                      <a:lnTo>
                        <a:pt x="3446" y="1723"/>
                      </a:lnTo>
                      <a:lnTo>
                        <a:pt x="1880" y="2663"/>
                      </a:lnTo>
                      <a:close/>
                      <a:moveTo>
                        <a:pt x="4799" y="332"/>
                      </a:moveTo>
                      <a:lnTo>
                        <a:pt x="4799" y="332"/>
                      </a:lnTo>
                      <a:cubicBezTo>
                        <a:pt x="4663" y="90"/>
                        <a:pt x="4515" y="45"/>
                        <a:pt x="4215" y="28"/>
                      </a:cubicBezTo>
                      <a:lnTo>
                        <a:pt x="4215" y="28"/>
                      </a:lnTo>
                      <a:cubicBezTo>
                        <a:pt x="3915" y="8"/>
                        <a:pt x="3160" y="0"/>
                        <a:pt x="2507" y="0"/>
                      </a:cubicBezTo>
                      <a:lnTo>
                        <a:pt x="2507" y="0"/>
                      </a:lnTo>
                      <a:cubicBezTo>
                        <a:pt x="1852" y="0"/>
                        <a:pt x="1097" y="8"/>
                        <a:pt x="797" y="28"/>
                      </a:cubicBezTo>
                      <a:lnTo>
                        <a:pt x="797" y="28"/>
                      </a:lnTo>
                      <a:cubicBezTo>
                        <a:pt x="497" y="45"/>
                        <a:pt x="350" y="89"/>
                        <a:pt x="212" y="332"/>
                      </a:cubicBezTo>
                      <a:lnTo>
                        <a:pt x="212" y="332"/>
                      </a:lnTo>
                      <a:cubicBezTo>
                        <a:pt x="72" y="573"/>
                        <a:pt x="0" y="989"/>
                        <a:pt x="0" y="1722"/>
                      </a:cubicBezTo>
                      <a:lnTo>
                        <a:pt x="0" y="1723"/>
                      </a:lnTo>
                      <a:lnTo>
                        <a:pt x="0" y="1723"/>
                      </a:lnTo>
                      <a:lnTo>
                        <a:pt x="0" y="1724"/>
                      </a:lnTo>
                      <a:lnTo>
                        <a:pt x="0" y="1724"/>
                      </a:lnTo>
                      <a:cubicBezTo>
                        <a:pt x="0" y="2453"/>
                        <a:pt x="72" y="2873"/>
                        <a:pt x="212" y="3111"/>
                      </a:cubicBezTo>
                      <a:lnTo>
                        <a:pt x="212" y="3111"/>
                      </a:lnTo>
                      <a:cubicBezTo>
                        <a:pt x="350" y="3353"/>
                        <a:pt x="497" y="3397"/>
                        <a:pt x="797" y="3418"/>
                      </a:cubicBezTo>
                      <a:lnTo>
                        <a:pt x="797" y="3418"/>
                      </a:lnTo>
                      <a:cubicBezTo>
                        <a:pt x="1097" y="3435"/>
                        <a:pt x="1852" y="3445"/>
                        <a:pt x="2507" y="3445"/>
                      </a:cubicBezTo>
                      <a:lnTo>
                        <a:pt x="2507" y="3445"/>
                      </a:lnTo>
                      <a:cubicBezTo>
                        <a:pt x="3160" y="3445"/>
                        <a:pt x="3915" y="3435"/>
                        <a:pt x="4215" y="3418"/>
                      </a:cubicBezTo>
                      <a:lnTo>
                        <a:pt x="4215" y="3418"/>
                      </a:lnTo>
                      <a:cubicBezTo>
                        <a:pt x="4516" y="3397"/>
                        <a:pt x="4664" y="3354"/>
                        <a:pt x="4799" y="3112"/>
                      </a:cubicBezTo>
                      <a:lnTo>
                        <a:pt x="4799" y="3112"/>
                      </a:lnTo>
                      <a:cubicBezTo>
                        <a:pt x="4941" y="2873"/>
                        <a:pt x="5012" y="2453"/>
                        <a:pt x="5012" y="1725"/>
                      </a:cubicBezTo>
                      <a:lnTo>
                        <a:pt x="5012" y="1723"/>
                      </a:lnTo>
                      <a:lnTo>
                        <a:pt x="5012" y="1722"/>
                      </a:lnTo>
                      <a:lnTo>
                        <a:pt x="5012" y="1722"/>
                      </a:lnTo>
                      <a:cubicBezTo>
                        <a:pt x="5012" y="989"/>
                        <a:pt x="4941" y="573"/>
                        <a:pt x="4799" y="3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6702358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C6FDA468-9051-804F-92C8-0CAACA78F5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06488" y="5968218"/>
                  <a:ext cx="871929" cy="871929"/>
                </a:xfrm>
                <a:custGeom>
                  <a:avLst/>
                  <a:gdLst>
                    <a:gd name="connsiteX0" fmla="*/ 902928 w 1804628"/>
                    <a:gd name="connsiteY0" fmla="*/ 620127 h 1804628"/>
                    <a:gd name="connsiteX1" fmla="*/ 621192 w 1804628"/>
                    <a:gd name="connsiteY1" fmla="*/ 902494 h 1804628"/>
                    <a:gd name="connsiteX2" fmla="*/ 902928 w 1804628"/>
                    <a:gd name="connsiteY2" fmla="*/ 1184502 h 1804628"/>
                    <a:gd name="connsiteX3" fmla="*/ 1185024 w 1804628"/>
                    <a:gd name="connsiteY3" fmla="*/ 902494 h 1804628"/>
                    <a:gd name="connsiteX4" fmla="*/ 902928 w 1804628"/>
                    <a:gd name="connsiteY4" fmla="*/ 620127 h 1804628"/>
                    <a:gd name="connsiteX5" fmla="*/ 902928 w 1804628"/>
                    <a:gd name="connsiteY5" fmla="*/ 450850 h 1804628"/>
                    <a:gd name="connsiteX6" fmla="*/ 1353778 w 1804628"/>
                    <a:gd name="connsiteY6" fmla="*/ 902494 h 1804628"/>
                    <a:gd name="connsiteX7" fmla="*/ 902928 w 1804628"/>
                    <a:gd name="connsiteY7" fmla="*/ 1353778 h 1804628"/>
                    <a:gd name="connsiteX8" fmla="*/ 452438 w 1804628"/>
                    <a:gd name="connsiteY8" fmla="*/ 902494 h 1804628"/>
                    <a:gd name="connsiteX9" fmla="*/ 902928 w 1804628"/>
                    <a:gd name="connsiteY9" fmla="*/ 450850 h 1804628"/>
                    <a:gd name="connsiteX10" fmla="*/ 1387295 w 1804628"/>
                    <a:gd name="connsiteY10" fmla="*/ 357188 h 1804628"/>
                    <a:gd name="connsiteX11" fmla="*/ 1447440 w 1804628"/>
                    <a:gd name="connsiteY11" fmla="*/ 416973 h 1804628"/>
                    <a:gd name="connsiteX12" fmla="*/ 1387295 w 1804628"/>
                    <a:gd name="connsiteY12" fmla="*/ 477478 h 1804628"/>
                    <a:gd name="connsiteX13" fmla="*/ 1327150 w 1804628"/>
                    <a:gd name="connsiteY13" fmla="*/ 416973 h 1804628"/>
                    <a:gd name="connsiteX14" fmla="*/ 1387295 w 1804628"/>
                    <a:gd name="connsiteY14" fmla="*/ 357188 h 1804628"/>
                    <a:gd name="connsiteX15" fmla="*/ 563968 w 1804628"/>
                    <a:gd name="connsiteY15" fmla="*/ 169262 h 1804628"/>
                    <a:gd name="connsiteX16" fmla="*/ 168902 w 1804628"/>
                    <a:gd name="connsiteY16" fmla="*/ 563969 h 1804628"/>
                    <a:gd name="connsiteX17" fmla="*/ 168902 w 1804628"/>
                    <a:gd name="connsiteY17" fmla="*/ 1241019 h 1804628"/>
                    <a:gd name="connsiteX18" fmla="*/ 563968 w 1804628"/>
                    <a:gd name="connsiteY18" fmla="*/ 1635365 h 1804628"/>
                    <a:gd name="connsiteX19" fmla="*/ 1240659 w 1804628"/>
                    <a:gd name="connsiteY19" fmla="*/ 1635365 h 1804628"/>
                    <a:gd name="connsiteX20" fmla="*/ 1635365 w 1804628"/>
                    <a:gd name="connsiteY20" fmla="*/ 1241019 h 1804628"/>
                    <a:gd name="connsiteX21" fmla="*/ 1635365 w 1804628"/>
                    <a:gd name="connsiteY21" fmla="*/ 563969 h 1804628"/>
                    <a:gd name="connsiteX22" fmla="*/ 1240659 w 1804628"/>
                    <a:gd name="connsiteY22" fmla="*/ 169262 h 1804628"/>
                    <a:gd name="connsiteX23" fmla="*/ 563968 w 1804628"/>
                    <a:gd name="connsiteY23" fmla="*/ 0 h 1804628"/>
                    <a:gd name="connsiteX24" fmla="*/ 1240659 w 1804628"/>
                    <a:gd name="connsiteY24" fmla="*/ 0 h 1804628"/>
                    <a:gd name="connsiteX25" fmla="*/ 1804628 w 1804628"/>
                    <a:gd name="connsiteY25" fmla="*/ 563969 h 1804628"/>
                    <a:gd name="connsiteX26" fmla="*/ 1804628 w 1804628"/>
                    <a:gd name="connsiteY26" fmla="*/ 1241019 h 1804628"/>
                    <a:gd name="connsiteX27" fmla="*/ 1240659 w 1804628"/>
                    <a:gd name="connsiteY27" fmla="*/ 1804628 h 1804628"/>
                    <a:gd name="connsiteX28" fmla="*/ 563968 w 1804628"/>
                    <a:gd name="connsiteY28" fmla="*/ 1804628 h 1804628"/>
                    <a:gd name="connsiteX29" fmla="*/ 0 w 1804628"/>
                    <a:gd name="connsiteY29" fmla="*/ 1241019 h 1804628"/>
                    <a:gd name="connsiteX30" fmla="*/ 0 w 1804628"/>
                    <a:gd name="connsiteY30" fmla="*/ 563969 h 1804628"/>
                    <a:gd name="connsiteX31" fmla="*/ 563968 w 1804628"/>
                    <a:gd name="connsiteY31" fmla="*/ 0 h 18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804628" h="1804628">
                      <a:moveTo>
                        <a:pt x="902928" y="620127"/>
                      </a:moveTo>
                      <a:cubicBezTo>
                        <a:pt x="747847" y="620127"/>
                        <a:pt x="621192" y="746544"/>
                        <a:pt x="621192" y="902494"/>
                      </a:cubicBezTo>
                      <a:cubicBezTo>
                        <a:pt x="621192" y="1057724"/>
                        <a:pt x="747847" y="1184502"/>
                        <a:pt x="902928" y="1184502"/>
                      </a:cubicBezTo>
                      <a:cubicBezTo>
                        <a:pt x="1058369" y="1184502"/>
                        <a:pt x="1185024" y="1057724"/>
                        <a:pt x="1185024" y="902494"/>
                      </a:cubicBezTo>
                      <a:cubicBezTo>
                        <a:pt x="1185024" y="746544"/>
                        <a:pt x="1058369" y="620127"/>
                        <a:pt x="902928" y="620127"/>
                      </a:cubicBezTo>
                      <a:close/>
                      <a:moveTo>
                        <a:pt x="902928" y="450850"/>
                      </a:moveTo>
                      <a:cubicBezTo>
                        <a:pt x="1152281" y="450850"/>
                        <a:pt x="1353778" y="653262"/>
                        <a:pt x="1353778" y="902494"/>
                      </a:cubicBezTo>
                      <a:cubicBezTo>
                        <a:pt x="1353778" y="1151367"/>
                        <a:pt x="1152281" y="1353778"/>
                        <a:pt x="902928" y="1353778"/>
                      </a:cubicBezTo>
                      <a:cubicBezTo>
                        <a:pt x="653935" y="1353778"/>
                        <a:pt x="452438" y="1151367"/>
                        <a:pt x="452438" y="902494"/>
                      </a:cubicBezTo>
                      <a:cubicBezTo>
                        <a:pt x="452438" y="653262"/>
                        <a:pt x="653935" y="450850"/>
                        <a:pt x="902928" y="450850"/>
                      </a:cubicBezTo>
                      <a:close/>
                      <a:moveTo>
                        <a:pt x="1387295" y="357188"/>
                      </a:moveTo>
                      <a:cubicBezTo>
                        <a:pt x="1420789" y="357188"/>
                        <a:pt x="1447440" y="383839"/>
                        <a:pt x="1447440" y="416973"/>
                      </a:cubicBezTo>
                      <a:cubicBezTo>
                        <a:pt x="1447440" y="450467"/>
                        <a:pt x="1420789" y="477478"/>
                        <a:pt x="1387295" y="477478"/>
                      </a:cubicBezTo>
                      <a:cubicBezTo>
                        <a:pt x="1354161" y="477478"/>
                        <a:pt x="1327150" y="450467"/>
                        <a:pt x="1327150" y="416973"/>
                      </a:cubicBezTo>
                      <a:cubicBezTo>
                        <a:pt x="1327150" y="383839"/>
                        <a:pt x="1354161" y="357188"/>
                        <a:pt x="1387295" y="357188"/>
                      </a:cubicBezTo>
                      <a:close/>
                      <a:moveTo>
                        <a:pt x="563968" y="169262"/>
                      </a:moveTo>
                      <a:cubicBezTo>
                        <a:pt x="346088" y="169262"/>
                        <a:pt x="168902" y="346088"/>
                        <a:pt x="168902" y="563969"/>
                      </a:cubicBezTo>
                      <a:lnTo>
                        <a:pt x="168902" y="1241019"/>
                      </a:lnTo>
                      <a:cubicBezTo>
                        <a:pt x="168902" y="1458540"/>
                        <a:pt x="346088" y="1635365"/>
                        <a:pt x="563968" y="1635365"/>
                      </a:cubicBezTo>
                      <a:lnTo>
                        <a:pt x="1240659" y="1635365"/>
                      </a:lnTo>
                      <a:cubicBezTo>
                        <a:pt x="1458540" y="1635365"/>
                        <a:pt x="1635365" y="1458540"/>
                        <a:pt x="1635365" y="1241019"/>
                      </a:cubicBezTo>
                      <a:lnTo>
                        <a:pt x="1635365" y="563969"/>
                      </a:lnTo>
                      <a:cubicBezTo>
                        <a:pt x="1635365" y="346088"/>
                        <a:pt x="1458540" y="169262"/>
                        <a:pt x="1240659" y="169262"/>
                      </a:cubicBezTo>
                      <a:close/>
                      <a:moveTo>
                        <a:pt x="563968" y="0"/>
                      </a:moveTo>
                      <a:lnTo>
                        <a:pt x="1240659" y="0"/>
                      </a:lnTo>
                      <a:cubicBezTo>
                        <a:pt x="1552175" y="0"/>
                        <a:pt x="1804628" y="252453"/>
                        <a:pt x="1804628" y="563969"/>
                      </a:cubicBezTo>
                      <a:lnTo>
                        <a:pt x="1804628" y="1241019"/>
                      </a:lnTo>
                      <a:cubicBezTo>
                        <a:pt x="1804628" y="1552175"/>
                        <a:pt x="1552175" y="1804628"/>
                        <a:pt x="1240659" y="1804628"/>
                      </a:cubicBezTo>
                      <a:lnTo>
                        <a:pt x="563968" y="1804628"/>
                      </a:lnTo>
                      <a:cubicBezTo>
                        <a:pt x="252453" y="1804628"/>
                        <a:pt x="0" y="1552175"/>
                        <a:pt x="0" y="1241019"/>
                      </a:cubicBezTo>
                      <a:lnTo>
                        <a:pt x="0" y="563969"/>
                      </a:lnTo>
                      <a:cubicBezTo>
                        <a:pt x="0" y="252453"/>
                        <a:pt x="252453" y="0"/>
                        <a:pt x="5639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8486680" y="566409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8374925" y="6676812"/>
                <a:ext cx="6836108" cy="1184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HK" sz="3250" dirty="0">
                    <a:solidFill>
                      <a:schemeClr val="accent3"/>
                    </a:solidFill>
                  </a:rPr>
                  <a:t>www.hkstp.org</a:t>
                </a:r>
                <a:endParaRPr lang="en-US" sz="325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2" name="Picture 10" descr="White linkedin icon - Free white site logo icons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2617" y="9509725"/>
              <a:ext cx="889696" cy="88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4185" y="817513"/>
            <a:ext cx="4800632" cy="1936295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9929555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7918F-ACD5-4028-93AB-9F8D79E20DA9}" type="datetime1">
              <a:rPr lang="en-US" smtClean="0"/>
              <a:t>4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F2FE7-8CE3-4984-AA46-E2B35FBCC2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582100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C697C0B0-A7DB-164D-9787-A7E56883C3A7}"/>
              </a:ext>
            </a:extLst>
          </p:cNvPr>
          <p:cNvSpPr/>
          <p:nvPr userDrawn="1"/>
        </p:nvSpPr>
        <p:spPr>
          <a:xfrm>
            <a:off x="993516" y="2725940"/>
            <a:ext cx="3633420" cy="168262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B20166D-F435-3B40-AC15-71650F260D70}"/>
              </a:ext>
            </a:extLst>
          </p:cNvPr>
          <p:cNvSpPr/>
          <p:nvPr userDrawn="1"/>
        </p:nvSpPr>
        <p:spPr>
          <a:xfrm>
            <a:off x="993516" y="4505497"/>
            <a:ext cx="6182325" cy="1917978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4988720-396A-9442-B9A9-BAFD3298CB17}"/>
              </a:ext>
            </a:extLst>
          </p:cNvPr>
          <p:cNvSpPr/>
          <p:nvPr userDrawn="1"/>
        </p:nvSpPr>
        <p:spPr>
          <a:xfrm>
            <a:off x="7175842" y="4505497"/>
            <a:ext cx="4480361" cy="1917866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CBD2696-CC7C-0D45-9BAC-8C6609D1FF9C}"/>
              </a:ext>
            </a:extLst>
          </p:cNvPr>
          <p:cNvSpPr/>
          <p:nvPr userDrawn="1"/>
        </p:nvSpPr>
        <p:spPr>
          <a:xfrm>
            <a:off x="993516" y="207206"/>
            <a:ext cx="4117460" cy="191976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0983FE9-15F3-EE4F-A68F-8508CAC80641}"/>
              </a:ext>
            </a:extLst>
          </p:cNvPr>
          <p:cNvSpPr/>
          <p:nvPr userDrawn="1"/>
        </p:nvSpPr>
        <p:spPr>
          <a:xfrm>
            <a:off x="4619697" y="2725940"/>
            <a:ext cx="3515319" cy="168262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44C6325-27F3-5040-9062-486AB26F0671}"/>
              </a:ext>
            </a:extLst>
          </p:cNvPr>
          <p:cNvSpPr/>
          <p:nvPr userDrawn="1"/>
        </p:nvSpPr>
        <p:spPr>
          <a:xfrm>
            <a:off x="8135016" y="2725940"/>
            <a:ext cx="3529280" cy="1682621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ED681CF-FC6A-5744-B178-31F61F2E9549}"/>
              </a:ext>
            </a:extLst>
          </p:cNvPr>
          <p:cNvSpPr/>
          <p:nvPr userDrawn="1"/>
        </p:nvSpPr>
        <p:spPr>
          <a:xfrm>
            <a:off x="7546835" y="207206"/>
            <a:ext cx="4117460" cy="1919760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4CD7729-B1ED-9C4D-A8AD-93669E532CB1}"/>
              </a:ext>
            </a:extLst>
          </p:cNvPr>
          <p:cNvSpPr/>
          <p:nvPr userDrawn="1"/>
        </p:nvSpPr>
        <p:spPr>
          <a:xfrm>
            <a:off x="5110977" y="207206"/>
            <a:ext cx="2435859" cy="193765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FBC75C3D-6D82-9647-B0C9-3C79A5265D3E}"/>
              </a:ext>
            </a:extLst>
          </p:cNvPr>
          <p:cNvSpPr txBox="1"/>
          <p:nvPr userDrawn="1"/>
        </p:nvSpPr>
        <p:spPr>
          <a:xfrm>
            <a:off x="5261516" y="5465339"/>
            <a:ext cx="801823" cy="4616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400" b="1">
                <a:solidFill>
                  <a:srgbClr val="6D7783"/>
                </a:solidFill>
                <a:ea typeface="League Spartan" charset="0"/>
                <a:cs typeface="Poppins" pitchFamily="2" charset="77"/>
              </a:rPr>
              <a:t>80%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1979095" y="242632"/>
            <a:ext cx="2254143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4 million ft</a:t>
            </a:r>
            <a:r>
              <a:rPr lang="en-US" sz="3000" b="1" baseline="30000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2111360" y="773547"/>
            <a:ext cx="2028965" cy="71558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R&amp;D Office &amp;</a:t>
            </a:r>
          </a:p>
          <a:p>
            <a:pPr algn="ctr">
              <a:lnSpc>
                <a:spcPct val="150000"/>
              </a:lnSpc>
            </a:pPr>
            <a:r>
              <a:rPr lang="en-US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Lab Space</a:t>
            </a:r>
          </a:p>
          <a:p>
            <a:pPr algn="ctr">
              <a:lnSpc>
                <a:spcPct val="1500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In Science Park </a:t>
            </a:r>
            <a:endParaRPr lang="en-US" sz="9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37E740F-18F8-934B-A70B-CBCC72FCE5C6}"/>
              </a:ext>
            </a:extLst>
          </p:cNvPr>
          <p:cNvSpPr txBox="1"/>
          <p:nvPr userDrawn="1"/>
        </p:nvSpPr>
        <p:spPr>
          <a:xfrm>
            <a:off x="5352529" y="228346"/>
            <a:ext cx="1939887" cy="138499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/>
            <a:endParaRPr lang="en-US" sz="2100" b="1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  <a:p>
            <a:pPr algn="ctr"/>
            <a:endParaRPr lang="en-US" sz="2100" b="1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  <a:p>
            <a:pPr algn="ctr"/>
            <a:endParaRPr lang="en-US" sz="2100" b="1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  <a:p>
            <a:pPr algn="ctr"/>
            <a:r>
              <a:rPr lang="en-US" sz="2100" b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t a Glance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D39FB13-78A6-1240-B722-E9417FCF13F8}"/>
              </a:ext>
            </a:extLst>
          </p:cNvPr>
          <p:cNvSpPr txBox="1"/>
          <p:nvPr userDrawn="1"/>
        </p:nvSpPr>
        <p:spPr>
          <a:xfrm>
            <a:off x="5307990" y="1637188"/>
            <a:ext cx="2028965" cy="2718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sz="1300" cap="all">
                <a:solidFill>
                  <a:schemeClr val="bg1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Established in 2002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7566904" y="242632"/>
            <a:ext cx="4071665" cy="1823576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HK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900</a:t>
            </a:r>
            <a:r>
              <a:rPr lang="en-HK" sz="3000" b="1">
                <a:solidFill>
                  <a:schemeClr val="accent4"/>
                </a:solidFill>
                <a:ea typeface="League Spartan" charset="0"/>
                <a:cs typeface="Poppins" pitchFamily="2" charset="77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HK" sz="15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Tech Enterprises &amp; Park Companies from </a:t>
            </a:r>
          </a:p>
          <a:p>
            <a:pPr algn="ctr">
              <a:lnSpc>
                <a:spcPct val="150000"/>
              </a:lnSpc>
            </a:pPr>
            <a:r>
              <a:rPr lang="en-HK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23 nations</a:t>
            </a:r>
            <a:endParaRPr lang="en-US" sz="3000" b="1">
              <a:solidFill>
                <a:schemeClr val="accent5"/>
              </a:solidFill>
              <a:ea typeface="League Spartan" charset="0"/>
              <a:cs typeface="Poppins" pitchFamily="2" charset="77"/>
            </a:endParaRPr>
          </a:p>
        </p:txBody>
      </p:sp>
      <p:pic>
        <p:nvPicPr>
          <p:cNvPr id="23" name="Picture 2" descr="Lalamove"/>
          <p:cNvPicPr>
            <a:picLocks noChangeAspect="1" noChangeArrowheads="1"/>
          </p:cNvPicPr>
          <p:nvPr userDrawn="1"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42" t="19833" r="8050" b="23948"/>
          <a:stretch/>
        </p:blipFill>
        <p:spPr bwMode="auto">
          <a:xfrm>
            <a:off x="9821323" y="3640286"/>
            <a:ext cx="1658163" cy="5930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" descr="SenseTim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5950" y="3101119"/>
            <a:ext cx="1476760" cy="4191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8800045" y="3180201"/>
            <a:ext cx="3978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8348075" y="3751630"/>
            <a:ext cx="1362385" cy="2718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Unicorns </a:t>
            </a:r>
            <a:endParaRPr lang="en-US" sz="9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2068243" y="2807560"/>
            <a:ext cx="136928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9,000+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1153227" y="3333486"/>
            <a:ext cx="3199317" cy="2718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US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R&amp;D </a:t>
            </a: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staff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1925275" y="3867350"/>
            <a:ext cx="1582484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13,000+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4736355" y="5884796"/>
            <a:ext cx="1855925" cy="2718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Still in Business 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BC75C3D-6D82-9647-B0C9-3C79A5265D3E}"/>
              </a:ext>
            </a:extLst>
          </p:cNvPr>
          <p:cNvSpPr txBox="1"/>
          <p:nvPr userDrawn="1"/>
        </p:nvSpPr>
        <p:spPr>
          <a:xfrm>
            <a:off x="5252405" y="4630473"/>
            <a:ext cx="878767" cy="461665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2400" b="1">
                <a:solidFill>
                  <a:srgbClr val="6D7783"/>
                </a:solidFill>
                <a:ea typeface="League Spartan" charset="0"/>
                <a:cs typeface="Poppins" pitchFamily="2" charset="77"/>
              </a:rPr>
              <a:t>720+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4734464" y="5069055"/>
            <a:ext cx="1855925" cy="271869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Graduate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928920" y="4933522"/>
            <a:ext cx="3846078" cy="1169551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Leading Technology Incubator </a:t>
            </a:r>
          </a:p>
          <a:p>
            <a:pPr algn="ctr">
              <a:lnSpc>
                <a:spcPts val="1400"/>
              </a:lnSpc>
            </a:pPr>
            <a:endParaRPr lang="en-HK" sz="9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ctr">
              <a:lnSpc>
                <a:spcPts val="14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in Hong Kong with </a:t>
            </a:r>
          </a:p>
          <a:p>
            <a:pPr algn="ctr">
              <a:lnSpc>
                <a:spcPts val="1400"/>
              </a:lnSpc>
            </a:pPr>
            <a:endParaRPr lang="en-HK" sz="3000" b="1">
              <a:solidFill>
                <a:schemeClr val="accent4"/>
              </a:solidFill>
              <a:ea typeface="League Spartan" charset="0"/>
              <a:cs typeface="Poppins" pitchFamily="2" charset="77"/>
            </a:endParaRPr>
          </a:p>
          <a:p>
            <a:pPr algn="ctr">
              <a:lnSpc>
                <a:spcPts val="1400"/>
              </a:lnSpc>
            </a:pPr>
            <a:endParaRPr lang="en-HK" sz="3000" b="1">
              <a:solidFill>
                <a:schemeClr val="accent4"/>
              </a:solidFill>
              <a:ea typeface="League Spartan" charset="0"/>
              <a:cs typeface="Poppins" pitchFamily="2" charset="77"/>
            </a:endParaRPr>
          </a:p>
          <a:p>
            <a:pPr algn="ctr">
              <a:lnSpc>
                <a:spcPts val="1400"/>
              </a:lnSpc>
            </a:pPr>
            <a:r>
              <a:rPr lang="en-HK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420+</a:t>
            </a:r>
            <a:r>
              <a:rPr lang="en-HK" sz="1400">
                <a:solidFill>
                  <a:schemeClr val="tx2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 </a:t>
            </a: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start-ups</a:t>
            </a:r>
            <a:endParaRPr lang="en-US" sz="9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5985741" y="2802572"/>
            <a:ext cx="83548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70+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4584564" y="3233680"/>
            <a:ext cx="3540727" cy="415498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Private and Public Sector Partnership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5875562" y="3580687"/>
            <a:ext cx="1048685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220+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5330702" y="4038296"/>
            <a:ext cx="2047717" cy="415498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Awards Received</a:t>
            </a:r>
          </a:p>
        </p:txBody>
      </p:sp>
      <p:sp>
        <p:nvSpPr>
          <p:cNvPr id="38" name="Rectangle 37"/>
          <p:cNvSpPr/>
          <p:nvPr userDrawn="1"/>
        </p:nvSpPr>
        <p:spPr>
          <a:xfrm>
            <a:off x="1447364" y="3502612"/>
            <a:ext cx="2611044" cy="4514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400"/>
              </a:lnSpc>
            </a:pPr>
            <a:endParaRPr lang="en-HK" sz="8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ctr">
              <a:lnSpc>
                <a:spcPts val="1400"/>
              </a:lnSpc>
            </a:pPr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With a total work population of 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8EBE0A2-A85F-674D-95A0-0DF60FB6DBEA}"/>
              </a:ext>
            </a:extLst>
          </p:cNvPr>
          <p:cNvSpPr txBox="1"/>
          <p:nvPr userDrawn="1"/>
        </p:nvSpPr>
        <p:spPr>
          <a:xfrm>
            <a:off x="7456696" y="4824602"/>
            <a:ext cx="3846078" cy="1341393"/>
          </a:xfrm>
          <a:prstGeom prst="rect">
            <a:avLst/>
          </a:prstGeom>
          <a:noFill/>
        </p:spPr>
        <p:txBody>
          <a:bodyPr wrap="square" rtlCol="0" anchor="t" anchorCtr="0">
            <a:spAutoFit/>
          </a:bodyPr>
          <a:lstStyle/>
          <a:p>
            <a:pPr algn="ctr">
              <a:lnSpc>
                <a:spcPts val="14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Investments of </a:t>
            </a:r>
            <a:r>
              <a:rPr lang="en-HK" sz="3000" b="1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HK$297B</a:t>
            </a:r>
            <a:r>
              <a:rPr lang="en-HK" sz="3000" b="1">
                <a:solidFill>
                  <a:schemeClr val="accent4"/>
                </a:solidFill>
                <a:ea typeface="League Spartan" charset="0"/>
                <a:cs typeface="Poppins" pitchFamily="2" charset="77"/>
              </a:rPr>
              <a:t> </a:t>
            </a:r>
          </a:p>
          <a:p>
            <a:pPr algn="ctr">
              <a:lnSpc>
                <a:spcPct val="150000"/>
              </a:lnSpc>
            </a:pPr>
            <a:r>
              <a:rPr lang="en-HK" sz="9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Raised by Park Companies</a:t>
            </a:r>
          </a:p>
          <a:p>
            <a:pPr algn="ctr"/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(FY17/18 to FY19/20)</a:t>
            </a:r>
          </a:p>
          <a:p>
            <a:pPr algn="ctr"/>
            <a:endParaRPr lang="en-HK" sz="1400">
              <a:solidFill>
                <a:srgbClr val="6D7783"/>
              </a:solidFill>
              <a:ea typeface="Lato Light" panose="020F0502020204030203" pitchFamily="34" charset="0"/>
              <a:cs typeface="Lato Light" panose="020F0502020204030203" pitchFamily="34" charset="0"/>
            </a:endParaRPr>
          </a:p>
          <a:p>
            <a:pPr algn="ctr"/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1:13x leverage of private capital </a:t>
            </a:r>
          </a:p>
          <a:p>
            <a:pPr algn="ctr"/>
            <a:r>
              <a:rPr lang="en-HK" sz="1400">
                <a:solidFill>
                  <a:srgbClr val="6D7783"/>
                </a:solidFill>
                <a:ea typeface="Lato Light" panose="020F0502020204030203" pitchFamily="34" charset="0"/>
                <a:cs typeface="Lato Light" panose="020F0502020204030203" pitchFamily="34" charset="0"/>
              </a:rPr>
              <a:t>by HKSTP Ventur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697C0B0-A7DB-164D-9787-A7E56883C3A7}"/>
              </a:ext>
            </a:extLst>
          </p:cNvPr>
          <p:cNvSpPr/>
          <p:nvPr userDrawn="1"/>
        </p:nvSpPr>
        <p:spPr>
          <a:xfrm>
            <a:off x="977605" y="2229745"/>
            <a:ext cx="2610680" cy="4263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C697C0B0-A7DB-164D-9787-A7E56883C3A7}"/>
              </a:ext>
            </a:extLst>
          </p:cNvPr>
          <p:cNvSpPr/>
          <p:nvPr userDrawn="1"/>
        </p:nvSpPr>
        <p:spPr>
          <a:xfrm>
            <a:off x="3677028" y="2226544"/>
            <a:ext cx="2610680" cy="4263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C697C0B0-A7DB-164D-9787-A7E56883C3A7}"/>
              </a:ext>
            </a:extLst>
          </p:cNvPr>
          <p:cNvSpPr/>
          <p:nvPr userDrawn="1"/>
        </p:nvSpPr>
        <p:spPr>
          <a:xfrm>
            <a:off x="6376451" y="2227102"/>
            <a:ext cx="2610680" cy="4263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C697C0B0-A7DB-164D-9787-A7E56883C3A7}"/>
              </a:ext>
            </a:extLst>
          </p:cNvPr>
          <p:cNvSpPr/>
          <p:nvPr userDrawn="1"/>
        </p:nvSpPr>
        <p:spPr>
          <a:xfrm>
            <a:off x="9073740" y="2223901"/>
            <a:ext cx="2610680" cy="42633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1858392" y="2328775"/>
            <a:ext cx="941284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AI &amp; Robotics</a:t>
            </a:r>
            <a:endParaRPr lang="en-US" sz="900" b="1" baseline="30000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4719687" y="2325870"/>
            <a:ext cx="607859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Biotech</a:t>
            </a:r>
            <a:endParaRPr lang="en-US" sz="900" b="1" baseline="30000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7366445" y="2331208"/>
            <a:ext cx="595035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US" sz="900" b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Fintech</a:t>
            </a:r>
            <a:endParaRPr lang="en-US" sz="900" b="1" baseline="30000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6879187-990A-F34F-B3DA-9D4A611E87D4}"/>
              </a:ext>
            </a:extLst>
          </p:cNvPr>
          <p:cNvSpPr txBox="1"/>
          <p:nvPr userDrawn="1"/>
        </p:nvSpPr>
        <p:spPr>
          <a:xfrm>
            <a:off x="9869679" y="2311275"/>
            <a:ext cx="857927" cy="23083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ctr"/>
            <a:r>
              <a:rPr lang="en-HK" sz="900" b="1">
                <a:solidFill>
                  <a:schemeClr val="bg1"/>
                </a:solidFill>
                <a:ea typeface="League Spartan" charset="0"/>
                <a:cs typeface="Poppins" pitchFamily="2" charset="77"/>
              </a:rPr>
              <a:t>Smart Cities</a:t>
            </a:r>
            <a:endParaRPr lang="en-US" sz="900" b="1">
              <a:solidFill>
                <a:schemeClr val="bg1"/>
              </a:solidFill>
              <a:ea typeface="League Spartan" charset="0"/>
              <a:cs typeface="Poppins" pitchFamily="2" charset="77"/>
            </a:endParaRPr>
          </a:p>
        </p:txBody>
      </p:sp>
      <p:pic>
        <p:nvPicPr>
          <p:cNvPr id="48" name="Picture 47"/>
          <p:cNvPicPr>
            <a:picLocks noChangeAspect="1"/>
          </p:cNvPicPr>
          <p:nvPr userDrawn="1"/>
        </p:nvPicPr>
        <p:blipFill rotWithShape="1">
          <a:blip r:embed="rId4" cstate="email">
            <a:clrChange>
              <a:clrFrom>
                <a:srgbClr val="231F20"/>
              </a:clrFrom>
              <a:clrTo>
                <a:srgbClr val="231F2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59" t="48374" r="27003" b="15849"/>
          <a:stretch/>
        </p:blipFill>
        <p:spPr>
          <a:xfrm>
            <a:off x="5428918" y="294800"/>
            <a:ext cx="1851284" cy="1007150"/>
          </a:xfrm>
          <a:prstGeom prst="rect">
            <a:avLst/>
          </a:prstGeom>
        </p:spPr>
      </p:pic>
      <p:sp>
        <p:nvSpPr>
          <p:cNvPr id="49" name="TextBox 48"/>
          <p:cNvSpPr txBox="1"/>
          <p:nvPr userDrawn="1"/>
        </p:nvSpPr>
        <p:spPr>
          <a:xfrm>
            <a:off x="332017" y="6663869"/>
            <a:ext cx="56664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70000">
                <a:srgbClr val="FFA16A"/>
              </a:gs>
              <a:gs pos="0">
                <a:schemeClr val="accent5"/>
              </a:gs>
              <a:gs pos="99000">
                <a:schemeClr val="bg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4013983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354036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7" name="TextBox 6"/>
          <p:cNvSpPr txBox="1"/>
          <p:nvPr userDrawn="1"/>
        </p:nvSpPr>
        <p:spPr>
          <a:xfrm>
            <a:off x="332017" y="6663869"/>
            <a:ext cx="56664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4265343" y="3975043"/>
            <a:ext cx="3418944" cy="1376738"/>
            <a:chOff x="8528465" y="7950086"/>
            <a:chExt cx="6836108" cy="2753476"/>
          </a:xfrm>
        </p:grpSpPr>
        <p:grpSp>
          <p:nvGrpSpPr>
            <p:cNvPr id="11" name="Group 10"/>
            <p:cNvGrpSpPr/>
            <p:nvPr/>
          </p:nvGrpSpPr>
          <p:grpSpPr>
            <a:xfrm>
              <a:off x="8528465" y="7950086"/>
              <a:ext cx="6836108" cy="2753476"/>
              <a:chOff x="8374925" y="6676812"/>
              <a:chExt cx="6836108" cy="275347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374925" y="7950086"/>
                <a:ext cx="6836108" cy="1480202"/>
                <a:chOff x="13130764" y="5664086"/>
                <a:chExt cx="6836108" cy="148020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64A36400-CC94-5944-9B6E-748029E0EF99}"/>
                    </a:ext>
                  </a:extLst>
                </p:cNvPr>
                <p:cNvSpPr/>
                <p:nvPr/>
              </p:nvSpPr>
              <p:spPr>
                <a:xfrm>
                  <a:off x="13130764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6" name="Freeform 1">
                  <a:extLst>
                    <a:ext uri="{FF2B5EF4-FFF2-40B4-BE49-F238E27FC236}">
                      <a16:creationId xmlns:a16="http://schemas.microsoft.com/office/drawing/2014/main" id="{0C0946D3-D99A-3F49-A310-2F87A03BF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57458" y="5947177"/>
                  <a:ext cx="426805" cy="914008"/>
                </a:xfrm>
                <a:custGeom>
                  <a:avLst/>
                  <a:gdLst>
                    <a:gd name="T0" fmla="*/ 303 w 1401"/>
                    <a:gd name="T1" fmla="*/ 582 h 3001"/>
                    <a:gd name="T2" fmla="*/ 303 w 1401"/>
                    <a:gd name="T3" fmla="*/ 994 h 3001"/>
                    <a:gd name="T4" fmla="*/ 0 w 1401"/>
                    <a:gd name="T5" fmla="*/ 994 h 3001"/>
                    <a:gd name="T6" fmla="*/ 0 w 1401"/>
                    <a:gd name="T7" fmla="*/ 1499 h 3001"/>
                    <a:gd name="T8" fmla="*/ 303 w 1401"/>
                    <a:gd name="T9" fmla="*/ 1499 h 3001"/>
                    <a:gd name="T10" fmla="*/ 303 w 1401"/>
                    <a:gd name="T11" fmla="*/ 3000 h 3001"/>
                    <a:gd name="T12" fmla="*/ 924 w 1401"/>
                    <a:gd name="T13" fmla="*/ 3000 h 3001"/>
                    <a:gd name="T14" fmla="*/ 924 w 1401"/>
                    <a:gd name="T15" fmla="*/ 1500 h 3001"/>
                    <a:gd name="T16" fmla="*/ 1341 w 1401"/>
                    <a:gd name="T17" fmla="*/ 1500 h 3001"/>
                    <a:gd name="T18" fmla="*/ 1341 w 1401"/>
                    <a:gd name="T19" fmla="*/ 1500 h 3001"/>
                    <a:gd name="T20" fmla="*/ 1399 w 1401"/>
                    <a:gd name="T21" fmla="*/ 993 h 3001"/>
                    <a:gd name="T22" fmla="*/ 926 w 1401"/>
                    <a:gd name="T23" fmla="*/ 993 h 3001"/>
                    <a:gd name="T24" fmla="*/ 926 w 1401"/>
                    <a:gd name="T25" fmla="*/ 647 h 3001"/>
                    <a:gd name="T26" fmla="*/ 926 w 1401"/>
                    <a:gd name="T27" fmla="*/ 647 h 3001"/>
                    <a:gd name="T28" fmla="*/ 1061 w 1401"/>
                    <a:gd name="T29" fmla="*/ 526 h 3001"/>
                    <a:gd name="T30" fmla="*/ 1400 w 1401"/>
                    <a:gd name="T31" fmla="*/ 526 h 3001"/>
                    <a:gd name="T32" fmla="*/ 1400 w 1401"/>
                    <a:gd name="T33" fmla="*/ 0 h 3001"/>
                    <a:gd name="T34" fmla="*/ 939 w 1401"/>
                    <a:gd name="T35" fmla="*/ 0 h 3001"/>
                    <a:gd name="T36" fmla="*/ 939 w 1401"/>
                    <a:gd name="T37" fmla="*/ 0 h 3001"/>
                    <a:gd name="T38" fmla="*/ 303 w 1401"/>
                    <a:gd name="T39" fmla="*/ 582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01" h="3001">
                      <a:moveTo>
                        <a:pt x="303" y="582"/>
                      </a:moveTo>
                      <a:lnTo>
                        <a:pt x="303" y="994"/>
                      </a:lnTo>
                      <a:lnTo>
                        <a:pt x="0" y="994"/>
                      </a:lnTo>
                      <a:lnTo>
                        <a:pt x="0" y="1499"/>
                      </a:lnTo>
                      <a:lnTo>
                        <a:pt x="303" y="1499"/>
                      </a:lnTo>
                      <a:lnTo>
                        <a:pt x="303" y="3000"/>
                      </a:lnTo>
                      <a:lnTo>
                        <a:pt x="924" y="3000"/>
                      </a:lnTo>
                      <a:lnTo>
                        <a:pt x="924" y="1500"/>
                      </a:lnTo>
                      <a:lnTo>
                        <a:pt x="1341" y="1500"/>
                      </a:lnTo>
                      <a:lnTo>
                        <a:pt x="1341" y="1500"/>
                      </a:lnTo>
                      <a:cubicBezTo>
                        <a:pt x="1341" y="1500"/>
                        <a:pt x="1380" y="1257"/>
                        <a:pt x="1399" y="993"/>
                      </a:cubicBezTo>
                      <a:lnTo>
                        <a:pt x="926" y="993"/>
                      </a:lnTo>
                      <a:lnTo>
                        <a:pt x="926" y="647"/>
                      </a:lnTo>
                      <a:lnTo>
                        <a:pt x="926" y="647"/>
                      </a:lnTo>
                      <a:cubicBezTo>
                        <a:pt x="926" y="596"/>
                        <a:pt x="994" y="526"/>
                        <a:pt x="1061" y="526"/>
                      </a:cubicBezTo>
                      <a:lnTo>
                        <a:pt x="1400" y="526"/>
                      </a:lnTo>
                      <a:lnTo>
                        <a:pt x="1400" y="0"/>
                      </a:lnTo>
                      <a:lnTo>
                        <a:pt x="939" y="0"/>
                      </a:lnTo>
                      <a:lnTo>
                        <a:pt x="939" y="0"/>
                      </a:lnTo>
                      <a:cubicBezTo>
                        <a:pt x="287" y="0"/>
                        <a:pt x="303" y="506"/>
                        <a:pt x="303" y="58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06FAB05E-CE5A-A845-87CD-424BC03CA7F7}"/>
                    </a:ext>
                  </a:extLst>
                </p:cNvPr>
                <p:cNvSpPr/>
                <p:nvPr/>
              </p:nvSpPr>
              <p:spPr>
                <a:xfrm>
                  <a:off x="14916561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8" name="Freeform 3">
                  <a:extLst>
                    <a:ext uri="{FF2B5EF4-FFF2-40B4-BE49-F238E27FC236}">
                      <a16:creationId xmlns:a16="http://schemas.microsoft.com/office/drawing/2014/main" id="{45723339-63E7-7E4F-A0F7-4B02C15A4C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11033" y="6103223"/>
                  <a:ext cx="894037" cy="614110"/>
                </a:xfrm>
                <a:custGeom>
                  <a:avLst/>
                  <a:gdLst>
                    <a:gd name="T0" fmla="*/ 1880 w 5013"/>
                    <a:gd name="T1" fmla="*/ 2663 h 3446"/>
                    <a:gd name="T2" fmla="*/ 1880 w 5013"/>
                    <a:gd name="T3" fmla="*/ 783 h 3446"/>
                    <a:gd name="T4" fmla="*/ 3446 w 5013"/>
                    <a:gd name="T5" fmla="*/ 1723 h 3446"/>
                    <a:gd name="T6" fmla="*/ 1880 w 5013"/>
                    <a:gd name="T7" fmla="*/ 2663 h 3446"/>
                    <a:gd name="T8" fmla="*/ 4799 w 5013"/>
                    <a:gd name="T9" fmla="*/ 332 h 3446"/>
                    <a:gd name="T10" fmla="*/ 4799 w 5013"/>
                    <a:gd name="T11" fmla="*/ 332 h 3446"/>
                    <a:gd name="T12" fmla="*/ 4215 w 5013"/>
                    <a:gd name="T13" fmla="*/ 28 h 3446"/>
                    <a:gd name="T14" fmla="*/ 4215 w 5013"/>
                    <a:gd name="T15" fmla="*/ 28 h 3446"/>
                    <a:gd name="T16" fmla="*/ 2507 w 5013"/>
                    <a:gd name="T17" fmla="*/ 0 h 3446"/>
                    <a:gd name="T18" fmla="*/ 2507 w 5013"/>
                    <a:gd name="T19" fmla="*/ 0 h 3446"/>
                    <a:gd name="T20" fmla="*/ 797 w 5013"/>
                    <a:gd name="T21" fmla="*/ 28 h 3446"/>
                    <a:gd name="T22" fmla="*/ 797 w 5013"/>
                    <a:gd name="T23" fmla="*/ 28 h 3446"/>
                    <a:gd name="T24" fmla="*/ 212 w 5013"/>
                    <a:gd name="T25" fmla="*/ 332 h 3446"/>
                    <a:gd name="T26" fmla="*/ 212 w 5013"/>
                    <a:gd name="T27" fmla="*/ 332 h 3446"/>
                    <a:gd name="T28" fmla="*/ 0 w 5013"/>
                    <a:gd name="T29" fmla="*/ 1722 h 3446"/>
                    <a:gd name="T30" fmla="*/ 0 w 5013"/>
                    <a:gd name="T31" fmla="*/ 1723 h 3446"/>
                    <a:gd name="T32" fmla="*/ 0 w 5013"/>
                    <a:gd name="T33" fmla="*/ 1723 h 3446"/>
                    <a:gd name="T34" fmla="*/ 0 w 5013"/>
                    <a:gd name="T35" fmla="*/ 1724 h 3446"/>
                    <a:gd name="T36" fmla="*/ 0 w 5013"/>
                    <a:gd name="T37" fmla="*/ 1724 h 3446"/>
                    <a:gd name="T38" fmla="*/ 212 w 5013"/>
                    <a:gd name="T39" fmla="*/ 3111 h 3446"/>
                    <a:gd name="T40" fmla="*/ 212 w 5013"/>
                    <a:gd name="T41" fmla="*/ 3111 h 3446"/>
                    <a:gd name="T42" fmla="*/ 797 w 5013"/>
                    <a:gd name="T43" fmla="*/ 3418 h 3446"/>
                    <a:gd name="T44" fmla="*/ 797 w 5013"/>
                    <a:gd name="T45" fmla="*/ 3418 h 3446"/>
                    <a:gd name="T46" fmla="*/ 2507 w 5013"/>
                    <a:gd name="T47" fmla="*/ 3445 h 3446"/>
                    <a:gd name="T48" fmla="*/ 2507 w 5013"/>
                    <a:gd name="T49" fmla="*/ 3445 h 3446"/>
                    <a:gd name="T50" fmla="*/ 4215 w 5013"/>
                    <a:gd name="T51" fmla="*/ 3418 h 3446"/>
                    <a:gd name="T52" fmla="*/ 4215 w 5013"/>
                    <a:gd name="T53" fmla="*/ 3418 h 3446"/>
                    <a:gd name="T54" fmla="*/ 4799 w 5013"/>
                    <a:gd name="T55" fmla="*/ 3112 h 3446"/>
                    <a:gd name="T56" fmla="*/ 4799 w 5013"/>
                    <a:gd name="T57" fmla="*/ 3112 h 3446"/>
                    <a:gd name="T58" fmla="*/ 5012 w 5013"/>
                    <a:gd name="T59" fmla="*/ 1725 h 3446"/>
                    <a:gd name="T60" fmla="*/ 5012 w 5013"/>
                    <a:gd name="T61" fmla="*/ 1723 h 3446"/>
                    <a:gd name="T62" fmla="*/ 5012 w 5013"/>
                    <a:gd name="T63" fmla="*/ 1722 h 3446"/>
                    <a:gd name="T64" fmla="*/ 5012 w 5013"/>
                    <a:gd name="T65" fmla="*/ 1722 h 3446"/>
                    <a:gd name="T66" fmla="*/ 4799 w 5013"/>
                    <a:gd name="T67" fmla="*/ 332 h 3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13" h="3446">
                      <a:moveTo>
                        <a:pt x="1880" y="2663"/>
                      </a:moveTo>
                      <a:lnTo>
                        <a:pt x="1880" y="783"/>
                      </a:lnTo>
                      <a:lnTo>
                        <a:pt x="3446" y="1723"/>
                      </a:lnTo>
                      <a:lnTo>
                        <a:pt x="1880" y="2663"/>
                      </a:lnTo>
                      <a:close/>
                      <a:moveTo>
                        <a:pt x="4799" y="332"/>
                      </a:moveTo>
                      <a:lnTo>
                        <a:pt x="4799" y="332"/>
                      </a:lnTo>
                      <a:cubicBezTo>
                        <a:pt x="4663" y="90"/>
                        <a:pt x="4515" y="45"/>
                        <a:pt x="4215" y="28"/>
                      </a:cubicBezTo>
                      <a:lnTo>
                        <a:pt x="4215" y="28"/>
                      </a:lnTo>
                      <a:cubicBezTo>
                        <a:pt x="3915" y="8"/>
                        <a:pt x="3160" y="0"/>
                        <a:pt x="2507" y="0"/>
                      </a:cubicBezTo>
                      <a:lnTo>
                        <a:pt x="2507" y="0"/>
                      </a:lnTo>
                      <a:cubicBezTo>
                        <a:pt x="1852" y="0"/>
                        <a:pt x="1097" y="8"/>
                        <a:pt x="797" y="28"/>
                      </a:cubicBezTo>
                      <a:lnTo>
                        <a:pt x="797" y="28"/>
                      </a:lnTo>
                      <a:cubicBezTo>
                        <a:pt x="497" y="45"/>
                        <a:pt x="350" y="89"/>
                        <a:pt x="212" y="332"/>
                      </a:cubicBezTo>
                      <a:lnTo>
                        <a:pt x="212" y="332"/>
                      </a:lnTo>
                      <a:cubicBezTo>
                        <a:pt x="72" y="573"/>
                        <a:pt x="0" y="989"/>
                        <a:pt x="0" y="1722"/>
                      </a:cubicBezTo>
                      <a:lnTo>
                        <a:pt x="0" y="1723"/>
                      </a:lnTo>
                      <a:lnTo>
                        <a:pt x="0" y="1723"/>
                      </a:lnTo>
                      <a:lnTo>
                        <a:pt x="0" y="1724"/>
                      </a:lnTo>
                      <a:lnTo>
                        <a:pt x="0" y="1724"/>
                      </a:lnTo>
                      <a:cubicBezTo>
                        <a:pt x="0" y="2453"/>
                        <a:pt x="72" y="2873"/>
                        <a:pt x="212" y="3111"/>
                      </a:cubicBezTo>
                      <a:lnTo>
                        <a:pt x="212" y="3111"/>
                      </a:lnTo>
                      <a:cubicBezTo>
                        <a:pt x="350" y="3353"/>
                        <a:pt x="497" y="3397"/>
                        <a:pt x="797" y="3418"/>
                      </a:cubicBezTo>
                      <a:lnTo>
                        <a:pt x="797" y="3418"/>
                      </a:lnTo>
                      <a:cubicBezTo>
                        <a:pt x="1097" y="3435"/>
                        <a:pt x="1852" y="3445"/>
                        <a:pt x="2507" y="3445"/>
                      </a:cubicBezTo>
                      <a:lnTo>
                        <a:pt x="2507" y="3445"/>
                      </a:lnTo>
                      <a:cubicBezTo>
                        <a:pt x="3160" y="3445"/>
                        <a:pt x="3915" y="3435"/>
                        <a:pt x="4215" y="3418"/>
                      </a:cubicBezTo>
                      <a:lnTo>
                        <a:pt x="4215" y="3418"/>
                      </a:lnTo>
                      <a:cubicBezTo>
                        <a:pt x="4516" y="3397"/>
                        <a:pt x="4664" y="3354"/>
                        <a:pt x="4799" y="3112"/>
                      </a:cubicBezTo>
                      <a:lnTo>
                        <a:pt x="4799" y="3112"/>
                      </a:lnTo>
                      <a:cubicBezTo>
                        <a:pt x="4941" y="2873"/>
                        <a:pt x="5012" y="2453"/>
                        <a:pt x="5012" y="1725"/>
                      </a:cubicBezTo>
                      <a:lnTo>
                        <a:pt x="5012" y="1723"/>
                      </a:lnTo>
                      <a:lnTo>
                        <a:pt x="5012" y="1722"/>
                      </a:lnTo>
                      <a:lnTo>
                        <a:pt x="5012" y="1722"/>
                      </a:lnTo>
                      <a:cubicBezTo>
                        <a:pt x="5012" y="989"/>
                        <a:pt x="4941" y="573"/>
                        <a:pt x="4799" y="3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6702358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C6FDA468-9051-804F-92C8-0CAACA78F5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06488" y="5968218"/>
                  <a:ext cx="871929" cy="871929"/>
                </a:xfrm>
                <a:custGeom>
                  <a:avLst/>
                  <a:gdLst>
                    <a:gd name="connsiteX0" fmla="*/ 902928 w 1804628"/>
                    <a:gd name="connsiteY0" fmla="*/ 620127 h 1804628"/>
                    <a:gd name="connsiteX1" fmla="*/ 621192 w 1804628"/>
                    <a:gd name="connsiteY1" fmla="*/ 902494 h 1804628"/>
                    <a:gd name="connsiteX2" fmla="*/ 902928 w 1804628"/>
                    <a:gd name="connsiteY2" fmla="*/ 1184502 h 1804628"/>
                    <a:gd name="connsiteX3" fmla="*/ 1185024 w 1804628"/>
                    <a:gd name="connsiteY3" fmla="*/ 902494 h 1804628"/>
                    <a:gd name="connsiteX4" fmla="*/ 902928 w 1804628"/>
                    <a:gd name="connsiteY4" fmla="*/ 620127 h 1804628"/>
                    <a:gd name="connsiteX5" fmla="*/ 902928 w 1804628"/>
                    <a:gd name="connsiteY5" fmla="*/ 450850 h 1804628"/>
                    <a:gd name="connsiteX6" fmla="*/ 1353778 w 1804628"/>
                    <a:gd name="connsiteY6" fmla="*/ 902494 h 1804628"/>
                    <a:gd name="connsiteX7" fmla="*/ 902928 w 1804628"/>
                    <a:gd name="connsiteY7" fmla="*/ 1353778 h 1804628"/>
                    <a:gd name="connsiteX8" fmla="*/ 452438 w 1804628"/>
                    <a:gd name="connsiteY8" fmla="*/ 902494 h 1804628"/>
                    <a:gd name="connsiteX9" fmla="*/ 902928 w 1804628"/>
                    <a:gd name="connsiteY9" fmla="*/ 450850 h 1804628"/>
                    <a:gd name="connsiteX10" fmla="*/ 1387295 w 1804628"/>
                    <a:gd name="connsiteY10" fmla="*/ 357188 h 1804628"/>
                    <a:gd name="connsiteX11" fmla="*/ 1447440 w 1804628"/>
                    <a:gd name="connsiteY11" fmla="*/ 416973 h 1804628"/>
                    <a:gd name="connsiteX12" fmla="*/ 1387295 w 1804628"/>
                    <a:gd name="connsiteY12" fmla="*/ 477478 h 1804628"/>
                    <a:gd name="connsiteX13" fmla="*/ 1327150 w 1804628"/>
                    <a:gd name="connsiteY13" fmla="*/ 416973 h 1804628"/>
                    <a:gd name="connsiteX14" fmla="*/ 1387295 w 1804628"/>
                    <a:gd name="connsiteY14" fmla="*/ 357188 h 1804628"/>
                    <a:gd name="connsiteX15" fmla="*/ 563968 w 1804628"/>
                    <a:gd name="connsiteY15" fmla="*/ 169262 h 1804628"/>
                    <a:gd name="connsiteX16" fmla="*/ 168902 w 1804628"/>
                    <a:gd name="connsiteY16" fmla="*/ 563969 h 1804628"/>
                    <a:gd name="connsiteX17" fmla="*/ 168902 w 1804628"/>
                    <a:gd name="connsiteY17" fmla="*/ 1241019 h 1804628"/>
                    <a:gd name="connsiteX18" fmla="*/ 563968 w 1804628"/>
                    <a:gd name="connsiteY18" fmla="*/ 1635365 h 1804628"/>
                    <a:gd name="connsiteX19" fmla="*/ 1240659 w 1804628"/>
                    <a:gd name="connsiteY19" fmla="*/ 1635365 h 1804628"/>
                    <a:gd name="connsiteX20" fmla="*/ 1635365 w 1804628"/>
                    <a:gd name="connsiteY20" fmla="*/ 1241019 h 1804628"/>
                    <a:gd name="connsiteX21" fmla="*/ 1635365 w 1804628"/>
                    <a:gd name="connsiteY21" fmla="*/ 563969 h 1804628"/>
                    <a:gd name="connsiteX22" fmla="*/ 1240659 w 1804628"/>
                    <a:gd name="connsiteY22" fmla="*/ 169262 h 1804628"/>
                    <a:gd name="connsiteX23" fmla="*/ 563968 w 1804628"/>
                    <a:gd name="connsiteY23" fmla="*/ 0 h 1804628"/>
                    <a:gd name="connsiteX24" fmla="*/ 1240659 w 1804628"/>
                    <a:gd name="connsiteY24" fmla="*/ 0 h 1804628"/>
                    <a:gd name="connsiteX25" fmla="*/ 1804628 w 1804628"/>
                    <a:gd name="connsiteY25" fmla="*/ 563969 h 1804628"/>
                    <a:gd name="connsiteX26" fmla="*/ 1804628 w 1804628"/>
                    <a:gd name="connsiteY26" fmla="*/ 1241019 h 1804628"/>
                    <a:gd name="connsiteX27" fmla="*/ 1240659 w 1804628"/>
                    <a:gd name="connsiteY27" fmla="*/ 1804628 h 1804628"/>
                    <a:gd name="connsiteX28" fmla="*/ 563968 w 1804628"/>
                    <a:gd name="connsiteY28" fmla="*/ 1804628 h 1804628"/>
                    <a:gd name="connsiteX29" fmla="*/ 0 w 1804628"/>
                    <a:gd name="connsiteY29" fmla="*/ 1241019 h 1804628"/>
                    <a:gd name="connsiteX30" fmla="*/ 0 w 1804628"/>
                    <a:gd name="connsiteY30" fmla="*/ 563969 h 1804628"/>
                    <a:gd name="connsiteX31" fmla="*/ 563968 w 1804628"/>
                    <a:gd name="connsiteY31" fmla="*/ 0 h 18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804628" h="1804628">
                      <a:moveTo>
                        <a:pt x="902928" y="620127"/>
                      </a:moveTo>
                      <a:cubicBezTo>
                        <a:pt x="747847" y="620127"/>
                        <a:pt x="621192" y="746544"/>
                        <a:pt x="621192" y="902494"/>
                      </a:cubicBezTo>
                      <a:cubicBezTo>
                        <a:pt x="621192" y="1057724"/>
                        <a:pt x="747847" y="1184502"/>
                        <a:pt x="902928" y="1184502"/>
                      </a:cubicBezTo>
                      <a:cubicBezTo>
                        <a:pt x="1058369" y="1184502"/>
                        <a:pt x="1185024" y="1057724"/>
                        <a:pt x="1185024" y="902494"/>
                      </a:cubicBezTo>
                      <a:cubicBezTo>
                        <a:pt x="1185024" y="746544"/>
                        <a:pt x="1058369" y="620127"/>
                        <a:pt x="902928" y="620127"/>
                      </a:cubicBezTo>
                      <a:close/>
                      <a:moveTo>
                        <a:pt x="902928" y="450850"/>
                      </a:moveTo>
                      <a:cubicBezTo>
                        <a:pt x="1152281" y="450850"/>
                        <a:pt x="1353778" y="653262"/>
                        <a:pt x="1353778" y="902494"/>
                      </a:cubicBezTo>
                      <a:cubicBezTo>
                        <a:pt x="1353778" y="1151367"/>
                        <a:pt x="1152281" y="1353778"/>
                        <a:pt x="902928" y="1353778"/>
                      </a:cubicBezTo>
                      <a:cubicBezTo>
                        <a:pt x="653935" y="1353778"/>
                        <a:pt x="452438" y="1151367"/>
                        <a:pt x="452438" y="902494"/>
                      </a:cubicBezTo>
                      <a:cubicBezTo>
                        <a:pt x="452438" y="653262"/>
                        <a:pt x="653935" y="450850"/>
                        <a:pt x="902928" y="450850"/>
                      </a:cubicBezTo>
                      <a:close/>
                      <a:moveTo>
                        <a:pt x="1387295" y="357188"/>
                      </a:moveTo>
                      <a:cubicBezTo>
                        <a:pt x="1420789" y="357188"/>
                        <a:pt x="1447440" y="383839"/>
                        <a:pt x="1447440" y="416973"/>
                      </a:cubicBezTo>
                      <a:cubicBezTo>
                        <a:pt x="1447440" y="450467"/>
                        <a:pt x="1420789" y="477478"/>
                        <a:pt x="1387295" y="477478"/>
                      </a:cubicBezTo>
                      <a:cubicBezTo>
                        <a:pt x="1354161" y="477478"/>
                        <a:pt x="1327150" y="450467"/>
                        <a:pt x="1327150" y="416973"/>
                      </a:cubicBezTo>
                      <a:cubicBezTo>
                        <a:pt x="1327150" y="383839"/>
                        <a:pt x="1354161" y="357188"/>
                        <a:pt x="1387295" y="357188"/>
                      </a:cubicBezTo>
                      <a:close/>
                      <a:moveTo>
                        <a:pt x="563968" y="169262"/>
                      </a:moveTo>
                      <a:cubicBezTo>
                        <a:pt x="346088" y="169262"/>
                        <a:pt x="168902" y="346088"/>
                        <a:pt x="168902" y="563969"/>
                      </a:cubicBezTo>
                      <a:lnTo>
                        <a:pt x="168902" y="1241019"/>
                      </a:lnTo>
                      <a:cubicBezTo>
                        <a:pt x="168902" y="1458540"/>
                        <a:pt x="346088" y="1635365"/>
                        <a:pt x="563968" y="1635365"/>
                      </a:cubicBezTo>
                      <a:lnTo>
                        <a:pt x="1240659" y="1635365"/>
                      </a:lnTo>
                      <a:cubicBezTo>
                        <a:pt x="1458540" y="1635365"/>
                        <a:pt x="1635365" y="1458540"/>
                        <a:pt x="1635365" y="1241019"/>
                      </a:cubicBezTo>
                      <a:lnTo>
                        <a:pt x="1635365" y="563969"/>
                      </a:lnTo>
                      <a:cubicBezTo>
                        <a:pt x="1635365" y="346088"/>
                        <a:pt x="1458540" y="169262"/>
                        <a:pt x="1240659" y="169262"/>
                      </a:cubicBezTo>
                      <a:close/>
                      <a:moveTo>
                        <a:pt x="563968" y="0"/>
                      </a:moveTo>
                      <a:lnTo>
                        <a:pt x="1240659" y="0"/>
                      </a:lnTo>
                      <a:cubicBezTo>
                        <a:pt x="1552175" y="0"/>
                        <a:pt x="1804628" y="252453"/>
                        <a:pt x="1804628" y="563969"/>
                      </a:cubicBezTo>
                      <a:lnTo>
                        <a:pt x="1804628" y="1241019"/>
                      </a:lnTo>
                      <a:cubicBezTo>
                        <a:pt x="1804628" y="1552175"/>
                        <a:pt x="1552175" y="1804628"/>
                        <a:pt x="1240659" y="1804628"/>
                      </a:cubicBezTo>
                      <a:lnTo>
                        <a:pt x="563968" y="1804628"/>
                      </a:lnTo>
                      <a:cubicBezTo>
                        <a:pt x="252453" y="1804628"/>
                        <a:pt x="0" y="1552175"/>
                        <a:pt x="0" y="1241019"/>
                      </a:cubicBezTo>
                      <a:lnTo>
                        <a:pt x="0" y="563969"/>
                      </a:lnTo>
                      <a:cubicBezTo>
                        <a:pt x="0" y="252453"/>
                        <a:pt x="252453" y="0"/>
                        <a:pt x="5639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8486680" y="566409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>
                    <a:latin typeface="Source Sans Pro Light" panose="020B0403030403020204" pitchFamily="34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8374925" y="6676812"/>
                <a:ext cx="6836108" cy="1184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HK" sz="3250">
                    <a:solidFill>
                      <a:schemeClr val="accent3"/>
                    </a:solidFill>
                  </a:rPr>
                  <a:t>www.hkstp.org</a:t>
                </a:r>
                <a:endParaRPr lang="en-US" sz="325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2" name="Picture 10" descr="White linkedin icon - Free white site logo icons"/>
            <p:cNvPicPr>
              <a:picLocks noChangeAspect="1" noChangeArrowheads="1"/>
            </p:cNvPicPr>
            <p:nvPr/>
          </p:nvPicPr>
          <p:blipFill>
            <a:blip r:embed="rId2" cstate="print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2617" y="9509725"/>
              <a:ext cx="889696" cy="88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70000">
                <a:srgbClr val="FFA16A"/>
              </a:gs>
              <a:gs pos="0">
                <a:schemeClr val="accent5"/>
              </a:gs>
              <a:gs pos="99000">
                <a:schemeClr val="bg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93" t="19429" r="51078" b="59111"/>
          <a:stretch/>
        </p:blipFill>
        <p:spPr>
          <a:xfrm>
            <a:off x="3754185" y="817513"/>
            <a:ext cx="4800632" cy="1936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37136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7945948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_v1">
  <p:cSld name="Cover slide_v1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oogle Shape;15;p3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593" y="0"/>
            <a:ext cx="11907554" cy="6862354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31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b="0" i="0" u="none" strike="noStrike" cap="none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7" name="Google Shape;17;p31"/>
          <p:cNvSpPr txBox="1"/>
          <p:nvPr/>
        </p:nvSpPr>
        <p:spPr>
          <a:xfrm>
            <a:off x="311662" y="6657087"/>
            <a:ext cx="8640749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u="none" strike="noStrike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" name="Google Shape;18;p31"/>
          <p:cNvSpPr txBox="1"/>
          <p:nvPr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3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0413" y="114987"/>
            <a:ext cx="2314570" cy="1259956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31"/>
          <p:cNvSpPr/>
          <p:nvPr/>
        </p:nvSpPr>
        <p:spPr>
          <a:xfrm>
            <a:off x="276593" y="1429405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" name="Google Shape;21;p31"/>
          <p:cNvSpPr txBox="1">
            <a:spLocks noGrp="1"/>
          </p:cNvSpPr>
          <p:nvPr>
            <p:ph type="body" idx="1"/>
          </p:nvPr>
        </p:nvSpPr>
        <p:spPr>
          <a:xfrm>
            <a:off x="663187" y="1932454"/>
            <a:ext cx="8483195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Google Shape;22;p31"/>
          <p:cNvSpPr txBox="1">
            <a:spLocks noGrp="1"/>
          </p:cNvSpPr>
          <p:nvPr>
            <p:ph type="body" idx="2"/>
          </p:nvPr>
        </p:nvSpPr>
        <p:spPr>
          <a:xfrm>
            <a:off x="663187" y="2428409"/>
            <a:ext cx="8483195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Google Shape;23;p31"/>
          <p:cNvSpPr txBox="1">
            <a:spLocks noGrp="1"/>
          </p:cNvSpPr>
          <p:nvPr>
            <p:ph type="body" idx="3"/>
          </p:nvPr>
        </p:nvSpPr>
        <p:spPr>
          <a:xfrm>
            <a:off x="663187" y="3480515"/>
            <a:ext cx="8483195" cy="12215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586152"/>
      </p:ext>
    </p:extLst>
  </p:cSld>
  <p:clrMapOvr>
    <a:masterClrMapping/>
  </p:clrMapOvr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text">
  <p:cSld name="Content slide_text">
    <p:spTree>
      <p:nvGrpSpPr>
        <p:cNvPr id="1" name="Shape 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Google Shape;25;p32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26" name="Google Shape;26;p32"/>
          <p:cNvSpPr txBox="1"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27" name="Google Shape;27;p32"/>
          <p:cNvSpPr txBox="1">
            <a:spLocks noGrp="1"/>
          </p:cNvSpPr>
          <p:nvPr>
            <p:ph type="body" idx="1"/>
          </p:nvPr>
        </p:nvSpPr>
        <p:spPr>
          <a:xfrm>
            <a:off x="510086" y="1019969"/>
            <a:ext cx="11520086" cy="5451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4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28" name="Google Shape;28;p32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" name="Google Shape;29;p32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0" name="Google Shape;30;p3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99260311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logo A">
  <p:cSld name="Content slide_logo A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33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33" name="Google Shape;33;p33"/>
          <p:cNvSpPr txBox="1"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4" name="Google Shape;34;p33"/>
          <p:cNvSpPr txBox="1">
            <a:spLocks noGrp="1"/>
          </p:cNvSpPr>
          <p:nvPr>
            <p:ph type="body" idx="1"/>
          </p:nvPr>
        </p:nvSpPr>
        <p:spPr>
          <a:xfrm>
            <a:off x="510086" y="1019969"/>
            <a:ext cx="11520086" cy="54514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810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4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1pPr>
            <a:lvl2pPr marL="914400" lvl="1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3pPr>
            <a:lvl4pPr marL="1828800" lvl="3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Google Shape;35;p33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36" name="Google Shape;36;p3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197676247"/>
      </p:ext>
    </p:extLst>
  </p:cSld>
  <p:clrMapOvr>
    <a:masterClrMapping/>
  </p:clrMapOvr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_B_v1">
  <p:cSld name="Chapter slide_B_v1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Google Shape;38;p34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39" name="Google Shape;39;p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60571" y="0"/>
            <a:ext cx="653142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0" name="Google Shape;40;p34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41" name="Google Shape;41;p34"/>
          <p:cNvSpPr txBox="1"/>
          <p:nvPr/>
        </p:nvSpPr>
        <p:spPr>
          <a:xfrm>
            <a:off x="11558095" y="6630055"/>
            <a:ext cx="472077" cy="23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22850" rIns="45700" bIns="2285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rgbClr val="6D7783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dirty="0">
              <a:solidFill>
                <a:srgbClr val="6D778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42" name="Google Shape;42;p34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43;p34"/>
          <p:cNvSpPr txBox="1">
            <a:spLocks noGrp="1"/>
          </p:cNvSpPr>
          <p:nvPr>
            <p:ph type="title"/>
          </p:nvPr>
        </p:nvSpPr>
        <p:spPr>
          <a:xfrm>
            <a:off x="462720" y="2628900"/>
            <a:ext cx="4729757" cy="192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>
                <a:solidFill>
                  <a:srgbClr val="2F2F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4" name="Google Shape;44;p34"/>
          <p:cNvSpPr txBox="1"/>
          <p:nvPr/>
        </p:nvSpPr>
        <p:spPr>
          <a:xfrm>
            <a:off x="278830" y="6562538"/>
            <a:ext cx="8873880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09598165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Straight Connector 9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Chapter Slide Titl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5711242" y="0"/>
            <a:ext cx="3339865" cy="686695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569146" y="1427162"/>
            <a:ext cx="4995576" cy="43275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/>
              <a:t>[insert your picture here]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7" y="154693"/>
            <a:ext cx="1121606" cy="467834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646654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image_v1">
  <p:cSld name="Content slide_image_v1">
    <p:spTree>
      <p:nvGrpSpPr>
        <p:cNvPr id="1" name="Shape 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Google Shape;54;p36"/>
          <p:cNvSpPr>
            <a:spLocks noGrp="1"/>
          </p:cNvSpPr>
          <p:nvPr>
            <p:ph type="pic" idx="2"/>
          </p:nvPr>
        </p:nvSpPr>
        <p:spPr>
          <a:xfrm>
            <a:off x="6967391" y="1262541"/>
            <a:ext cx="4985675" cy="497541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1200"/>
              <a:buFont typeface="Arial"/>
              <a:buNone/>
              <a:defRPr sz="12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55" name="Google Shape;55;p36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56" name="Google Shape;56;p36"/>
          <p:cNvSpPr txBox="1">
            <a:spLocks noGrp="1"/>
          </p:cNvSpPr>
          <p:nvPr>
            <p:ph type="title"/>
          </p:nvPr>
        </p:nvSpPr>
        <p:spPr>
          <a:xfrm>
            <a:off x="311662" y="145322"/>
            <a:ext cx="10523282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7" name="Google Shape;57;p36"/>
          <p:cNvSpPr txBox="1">
            <a:spLocks noGrp="1"/>
          </p:cNvSpPr>
          <p:nvPr>
            <p:ph type="body" idx="1"/>
          </p:nvPr>
        </p:nvSpPr>
        <p:spPr>
          <a:xfrm>
            <a:off x="547036" y="1262540"/>
            <a:ext cx="6196039" cy="4975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400"/>
              <a:buFont typeface="Arial"/>
              <a:buChar char="•"/>
              <a:defRPr sz="14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000"/>
              <a:buFont typeface="Arial"/>
              <a:buChar char="•"/>
              <a:defRPr sz="10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58" name="Google Shape;58;p36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9" name="Google Shape;59;p36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0" name="Google Shape;60;p3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7459944"/>
      </p:ext>
    </p:extLst>
  </p:cSld>
  <p:clrMapOvr>
    <a:masterClrMapping/>
  </p:clrMapOvr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_A_v1">
  <p:cSld name="Chapter slide_A_v1">
    <p:spTree>
      <p:nvGrpSpPr>
        <p:cNvPr id="1" name="Shape 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Google Shape;62;p37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63" name="Google Shape;63;p3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"/>
          <a:stretch/>
        </p:blipFill>
        <p:spPr>
          <a:xfrm>
            <a:off x="6460435" y="0"/>
            <a:ext cx="5728605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64" name="Google Shape;64;p37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65" name="Google Shape;65;p37"/>
          <p:cNvSpPr txBox="1"/>
          <p:nvPr/>
        </p:nvSpPr>
        <p:spPr>
          <a:xfrm>
            <a:off x="11558095" y="6630055"/>
            <a:ext cx="472077" cy="23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22850" rIns="45700" bIns="2285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rgbClr val="6D7783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dirty="0">
              <a:solidFill>
                <a:srgbClr val="6D778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66" name="Google Shape;66;p37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sp>
        <p:nvSpPr>
          <p:cNvPr id="67" name="Google Shape;67;p37"/>
          <p:cNvSpPr txBox="1">
            <a:spLocks noGrp="1"/>
          </p:cNvSpPr>
          <p:nvPr>
            <p:ph type="title"/>
          </p:nvPr>
        </p:nvSpPr>
        <p:spPr>
          <a:xfrm>
            <a:off x="462720" y="2628900"/>
            <a:ext cx="4729757" cy="192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>
                <a:solidFill>
                  <a:srgbClr val="2F2F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68" name="Google Shape;68;p37"/>
          <p:cNvSpPr txBox="1"/>
          <p:nvPr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29411619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statement_v2">
  <p:cSld name="Content slide_statement_v2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oogle Shape;78;p3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22220" cy="4333461"/>
          </a:xfrm>
          <a:prstGeom prst="rect">
            <a:avLst/>
          </a:prstGeom>
          <a:noFill/>
          <a:ln>
            <a:noFill/>
          </a:ln>
        </p:spPr>
      </p:pic>
      <p:sp>
        <p:nvSpPr>
          <p:cNvPr id="79" name="Google Shape;79;p39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80" name="Google Shape;80;p39"/>
          <p:cNvSpPr/>
          <p:nvPr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rgbClr val="B5C3D6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81" name="Google Shape;81;p39"/>
          <p:cNvSpPr txBox="1">
            <a:spLocks noGrp="1"/>
          </p:cNvSpPr>
          <p:nvPr>
            <p:ph type="body" idx="1"/>
          </p:nvPr>
        </p:nvSpPr>
        <p:spPr>
          <a:xfrm>
            <a:off x="1219518" y="3876675"/>
            <a:ext cx="10127712" cy="210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 i="1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82" name="Google Shape;82;p39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3" name="Google Shape;83;p39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84" name="Google Shape;84;p3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11347123"/>
      </p:ext>
    </p:extLst>
  </p:cSld>
  <p:clrMapOvr>
    <a:masterClrMapping/>
  </p:clrMapOvr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_default_v2">
  <p:cSld name="Chapter slide_default_v2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40"/>
          <p:cNvSpPr txBox="1">
            <a:spLocks noGrp="1"/>
          </p:cNvSpPr>
          <p:nvPr>
            <p:ph type="title"/>
          </p:nvPr>
        </p:nvSpPr>
        <p:spPr>
          <a:xfrm>
            <a:off x="462720" y="2628900"/>
            <a:ext cx="4729757" cy="192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>
                <a:solidFill>
                  <a:srgbClr val="2F2F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87" name="Google Shape;87;p40"/>
          <p:cNvSpPr/>
          <p:nvPr/>
        </p:nvSpPr>
        <p:spPr>
          <a:xfrm>
            <a:off x="5711242" y="0"/>
            <a:ext cx="3339865" cy="686695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88" name="Google Shape;88;p40"/>
          <p:cNvSpPr>
            <a:spLocks noGrp="1"/>
          </p:cNvSpPr>
          <p:nvPr>
            <p:ph type="pic" idx="2"/>
          </p:nvPr>
        </p:nvSpPr>
        <p:spPr>
          <a:xfrm>
            <a:off x="6569146" y="1427162"/>
            <a:ext cx="4995576" cy="4327525"/>
          </a:xfrm>
          <a:prstGeom prst="rect">
            <a:avLst/>
          </a:prstGeom>
          <a:solidFill>
            <a:srgbClr val="F2F2F2"/>
          </a:solidFill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2400"/>
              <a:buFont typeface="Arial"/>
              <a:buNone/>
              <a:defRPr sz="24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89" name="Google Shape;89;p40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cxnSp>
        <p:nvCxnSpPr>
          <p:cNvPr id="90" name="Google Shape;90;p40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1" name="Google Shape;91;p40"/>
          <p:cNvSpPr txBox="1"/>
          <p:nvPr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2" name="Google Shape;92;p4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287595"/>
      </p:ext>
    </p:extLst>
  </p:cSld>
  <p:clrMapOvr>
    <a:masterClrMapping/>
  </p:clrMapOvr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slide_v2">
  <p:cSld name="Cover slide_v2">
    <p:spTree>
      <p:nvGrpSpPr>
        <p:cNvPr id="1" name="Shape 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4" name="Google Shape;94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964" y="-1"/>
            <a:ext cx="11916684" cy="6853647"/>
          </a:xfrm>
          <a:prstGeom prst="rect">
            <a:avLst/>
          </a:prstGeom>
          <a:noFill/>
          <a:ln>
            <a:noFill/>
          </a:ln>
        </p:spPr>
      </p:pic>
      <p:sp>
        <p:nvSpPr>
          <p:cNvPr id="95" name="Google Shape;95;p41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96" name="Google Shape;96;p41"/>
          <p:cNvSpPr txBox="1"/>
          <p:nvPr/>
        </p:nvSpPr>
        <p:spPr>
          <a:xfrm>
            <a:off x="311662" y="6657087"/>
            <a:ext cx="9448751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7" name="Google Shape;97;p41"/>
          <p:cNvSpPr txBox="1"/>
          <p:nvPr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8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8" name="Google Shape;98;p41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0413" y="114987"/>
            <a:ext cx="2314570" cy="1259956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41"/>
          <p:cNvSpPr/>
          <p:nvPr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0" name="Google Shape;100;p41"/>
          <p:cNvSpPr txBox="1">
            <a:spLocks noGrp="1"/>
          </p:cNvSpPr>
          <p:nvPr>
            <p:ph type="body" idx="1"/>
          </p:nvPr>
        </p:nvSpPr>
        <p:spPr>
          <a:xfrm>
            <a:off x="663187" y="2815426"/>
            <a:ext cx="8483195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1" name="Google Shape;101;p41"/>
          <p:cNvSpPr txBox="1">
            <a:spLocks noGrp="1"/>
          </p:cNvSpPr>
          <p:nvPr>
            <p:ph type="body" idx="2"/>
          </p:nvPr>
        </p:nvSpPr>
        <p:spPr>
          <a:xfrm>
            <a:off x="663187" y="3311381"/>
            <a:ext cx="8483195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24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2" name="Google Shape;102;p41"/>
          <p:cNvSpPr txBox="1">
            <a:spLocks noGrp="1"/>
          </p:cNvSpPr>
          <p:nvPr>
            <p:ph type="body" idx="3"/>
          </p:nvPr>
        </p:nvSpPr>
        <p:spPr>
          <a:xfrm>
            <a:off x="663187" y="4409655"/>
            <a:ext cx="8483195" cy="406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3" name="Google Shape;103;p41"/>
          <p:cNvSpPr txBox="1">
            <a:spLocks noGrp="1"/>
          </p:cNvSpPr>
          <p:nvPr>
            <p:ph type="body" idx="4"/>
          </p:nvPr>
        </p:nvSpPr>
        <p:spPr>
          <a:xfrm>
            <a:off x="675879" y="4815841"/>
            <a:ext cx="8483195" cy="406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4" name="Google Shape;104;p41"/>
          <p:cNvSpPr txBox="1">
            <a:spLocks noGrp="1"/>
          </p:cNvSpPr>
          <p:nvPr>
            <p:ph type="body" idx="5"/>
          </p:nvPr>
        </p:nvSpPr>
        <p:spPr>
          <a:xfrm>
            <a:off x="675879" y="5210856"/>
            <a:ext cx="8483195" cy="406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  <a:defRPr sz="1800" b="0">
                <a:solidFill>
                  <a:schemeClr val="lt1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  <a:defRPr sz="3000" b="1">
                <a:solidFill>
                  <a:schemeClr val="lt1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7548131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slide">
  <p:cSld name="Agenda slide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" name="Google Shape;106;p42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" name="Google Shape;107;p42"/>
          <p:cNvSpPr txBox="1"/>
          <p:nvPr/>
        </p:nvSpPr>
        <p:spPr>
          <a:xfrm>
            <a:off x="5566853" y="289567"/>
            <a:ext cx="676788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9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1</a:t>
            </a:r>
            <a:endParaRPr dirty="0"/>
          </a:p>
        </p:txBody>
      </p:sp>
      <p:sp>
        <p:nvSpPr>
          <p:cNvPr id="108" name="Google Shape;108;p42"/>
          <p:cNvSpPr txBox="1"/>
          <p:nvPr/>
        </p:nvSpPr>
        <p:spPr>
          <a:xfrm>
            <a:off x="5632575" y="589648"/>
            <a:ext cx="61106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 dirty="0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rPr>
              <a:t>01</a:t>
            </a:r>
            <a:endParaRPr dirty="0"/>
          </a:p>
        </p:txBody>
      </p:sp>
      <p:sp>
        <p:nvSpPr>
          <p:cNvPr id="109" name="Google Shape;109;p42"/>
          <p:cNvSpPr txBox="1"/>
          <p:nvPr/>
        </p:nvSpPr>
        <p:spPr>
          <a:xfrm>
            <a:off x="5566853" y="1536568"/>
            <a:ext cx="676788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900" b="1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2</a:t>
            </a:r>
            <a:endParaRPr dirty="0"/>
          </a:p>
        </p:txBody>
      </p:sp>
      <p:sp>
        <p:nvSpPr>
          <p:cNvPr id="110" name="Google Shape;110;p42"/>
          <p:cNvSpPr txBox="1"/>
          <p:nvPr/>
        </p:nvSpPr>
        <p:spPr>
          <a:xfrm>
            <a:off x="5632575" y="1836650"/>
            <a:ext cx="61106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 dirty="0">
                <a:solidFill>
                  <a:schemeClr val="accent2"/>
                </a:solidFill>
                <a:latin typeface="Arial"/>
                <a:ea typeface="Arial"/>
                <a:cs typeface="Arial"/>
                <a:sym typeface="Arial"/>
              </a:rPr>
              <a:t>02</a:t>
            </a:r>
            <a:endParaRPr dirty="0"/>
          </a:p>
        </p:txBody>
      </p:sp>
      <p:sp>
        <p:nvSpPr>
          <p:cNvPr id="111" name="Google Shape;111;p42"/>
          <p:cNvSpPr txBox="1"/>
          <p:nvPr/>
        </p:nvSpPr>
        <p:spPr>
          <a:xfrm>
            <a:off x="5566853" y="2783569"/>
            <a:ext cx="676788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900" b="1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3</a:t>
            </a:r>
            <a:endParaRPr dirty="0"/>
          </a:p>
        </p:txBody>
      </p:sp>
      <p:sp>
        <p:nvSpPr>
          <p:cNvPr id="112" name="Google Shape;112;p42"/>
          <p:cNvSpPr txBox="1"/>
          <p:nvPr/>
        </p:nvSpPr>
        <p:spPr>
          <a:xfrm>
            <a:off x="5632575" y="3083651"/>
            <a:ext cx="61106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 dirty="0">
                <a:solidFill>
                  <a:schemeClr val="accent3"/>
                </a:solidFill>
                <a:latin typeface="Arial"/>
                <a:ea typeface="Arial"/>
                <a:cs typeface="Arial"/>
                <a:sym typeface="Arial"/>
              </a:rPr>
              <a:t>03</a:t>
            </a:r>
            <a:endParaRPr dirty="0"/>
          </a:p>
        </p:txBody>
      </p:sp>
      <p:sp>
        <p:nvSpPr>
          <p:cNvPr id="113" name="Google Shape;113;p42"/>
          <p:cNvSpPr txBox="1"/>
          <p:nvPr/>
        </p:nvSpPr>
        <p:spPr>
          <a:xfrm>
            <a:off x="5566853" y="4030570"/>
            <a:ext cx="676788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900" b="1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4</a:t>
            </a:r>
            <a:endParaRPr dirty="0"/>
          </a:p>
        </p:txBody>
      </p:sp>
      <p:sp>
        <p:nvSpPr>
          <p:cNvPr id="114" name="Google Shape;114;p42"/>
          <p:cNvSpPr txBox="1"/>
          <p:nvPr/>
        </p:nvSpPr>
        <p:spPr>
          <a:xfrm>
            <a:off x="5632575" y="4330652"/>
            <a:ext cx="61106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 dirty="0">
                <a:solidFill>
                  <a:schemeClr val="accent4"/>
                </a:solidFill>
                <a:latin typeface="Arial"/>
                <a:ea typeface="Arial"/>
                <a:cs typeface="Arial"/>
                <a:sym typeface="Arial"/>
              </a:rPr>
              <a:t>04</a:t>
            </a:r>
            <a:endParaRPr dirty="0"/>
          </a:p>
        </p:txBody>
      </p:sp>
      <p:sp>
        <p:nvSpPr>
          <p:cNvPr id="115" name="Google Shape;115;p42"/>
          <p:cNvSpPr txBox="1"/>
          <p:nvPr/>
        </p:nvSpPr>
        <p:spPr>
          <a:xfrm>
            <a:off x="5566853" y="5277572"/>
            <a:ext cx="676788" cy="11541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900" b="1" dirty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5</a:t>
            </a:r>
            <a:endParaRPr dirty="0"/>
          </a:p>
        </p:txBody>
      </p:sp>
      <p:sp>
        <p:nvSpPr>
          <p:cNvPr id="116" name="Google Shape;116;p42"/>
          <p:cNvSpPr txBox="1"/>
          <p:nvPr/>
        </p:nvSpPr>
        <p:spPr>
          <a:xfrm>
            <a:off x="5632575" y="5577653"/>
            <a:ext cx="611066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000" b="1" dirty="0">
                <a:solidFill>
                  <a:schemeClr val="accent5"/>
                </a:solidFill>
                <a:latin typeface="Arial"/>
                <a:ea typeface="Arial"/>
                <a:cs typeface="Arial"/>
                <a:sym typeface="Arial"/>
              </a:rPr>
              <a:t>05</a:t>
            </a:r>
            <a:endParaRPr dirty="0"/>
          </a:p>
        </p:txBody>
      </p:sp>
      <p:sp>
        <p:nvSpPr>
          <p:cNvPr id="117" name="Google Shape;117;p42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18" name="Google Shape;118;p42"/>
          <p:cNvSpPr txBox="1"/>
          <p:nvPr/>
        </p:nvSpPr>
        <p:spPr>
          <a:xfrm>
            <a:off x="11558095" y="6630055"/>
            <a:ext cx="472077" cy="23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22850" rIns="45700" bIns="2285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rgbClr val="6D7783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dirty="0">
              <a:solidFill>
                <a:srgbClr val="6D778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9" name="Google Shape;119;p42"/>
          <p:cNvSpPr txBox="1"/>
          <p:nvPr/>
        </p:nvSpPr>
        <p:spPr>
          <a:xfrm>
            <a:off x="557659" y="5743070"/>
            <a:ext cx="4496051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000"/>
              <a:buFont typeface="Arial"/>
              <a:buNone/>
            </a:pPr>
            <a:r>
              <a:rPr lang="en-US" sz="3000" b="1" i="0" cap="none" dirty="0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rPr>
              <a:t>AGENDA</a:t>
            </a:r>
            <a:endParaRPr dirty="0"/>
          </a:p>
        </p:txBody>
      </p:sp>
      <p:sp>
        <p:nvSpPr>
          <p:cNvPr id="120" name="Google Shape;120;p42"/>
          <p:cNvSpPr txBox="1"/>
          <p:nvPr/>
        </p:nvSpPr>
        <p:spPr>
          <a:xfrm>
            <a:off x="5797930" y="6562538"/>
            <a:ext cx="6107436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" name="Google Shape;121;p42"/>
          <p:cNvSpPr txBox="1">
            <a:spLocks noGrp="1"/>
          </p:cNvSpPr>
          <p:nvPr>
            <p:ph type="body" idx="1"/>
          </p:nvPr>
        </p:nvSpPr>
        <p:spPr>
          <a:xfrm>
            <a:off x="6796299" y="524848"/>
            <a:ext cx="2955807" cy="29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None/>
              <a:defRPr sz="1600" b="1" cap="none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2" name="Google Shape;122;p42"/>
          <p:cNvSpPr txBox="1">
            <a:spLocks noGrp="1"/>
          </p:cNvSpPr>
          <p:nvPr>
            <p:ph type="body" idx="2"/>
          </p:nvPr>
        </p:nvSpPr>
        <p:spPr>
          <a:xfrm>
            <a:off x="6796600" y="866688"/>
            <a:ext cx="4111902" cy="69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200"/>
              <a:buFont typeface="Arial"/>
              <a:buNone/>
              <a:defRPr sz="1200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3" name="Google Shape;123;p42"/>
          <p:cNvSpPr txBox="1">
            <a:spLocks noGrp="1"/>
          </p:cNvSpPr>
          <p:nvPr>
            <p:ph type="body" idx="3"/>
          </p:nvPr>
        </p:nvSpPr>
        <p:spPr>
          <a:xfrm>
            <a:off x="6795998" y="1771868"/>
            <a:ext cx="2955807" cy="29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None/>
              <a:defRPr sz="1600" b="1" cap="none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4" name="Google Shape;124;p42"/>
          <p:cNvSpPr txBox="1">
            <a:spLocks noGrp="1"/>
          </p:cNvSpPr>
          <p:nvPr>
            <p:ph type="body" idx="4"/>
          </p:nvPr>
        </p:nvSpPr>
        <p:spPr>
          <a:xfrm>
            <a:off x="6796299" y="2113708"/>
            <a:ext cx="4111902" cy="69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200"/>
              <a:buFont typeface="Arial"/>
              <a:buNone/>
              <a:defRPr sz="1200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5" name="Google Shape;125;p42"/>
          <p:cNvSpPr txBox="1">
            <a:spLocks noGrp="1"/>
          </p:cNvSpPr>
          <p:nvPr>
            <p:ph type="body" idx="5"/>
          </p:nvPr>
        </p:nvSpPr>
        <p:spPr>
          <a:xfrm>
            <a:off x="6795697" y="3029768"/>
            <a:ext cx="2955807" cy="29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None/>
              <a:defRPr sz="1600" b="1" cap="none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6" name="Google Shape;126;p42"/>
          <p:cNvSpPr txBox="1">
            <a:spLocks noGrp="1"/>
          </p:cNvSpPr>
          <p:nvPr>
            <p:ph type="body" idx="6"/>
          </p:nvPr>
        </p:nvSpPr>
        <p:spPr>
          <a:xfrm>
            <a:off x="6795998" y="3371608"/>
            <a:ext cx="4111902" cy="69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200"/>
              <a:buFont typeface="Arial"/>
              <a:buNone/>
              <a:defRPr sz="1200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7" name="Google Shape;127;p42"/>
          <p:cNvSpPr txBox="1">
            <a:spLocks noGrp="1"/>
          </p:cNvSpPr>
          <p:nvPr>
            <p:ph type="body" idx="7"/>
          </p:nvPr>
        </p:nvSpPr>
        <p:spPr>
          <a:xfrm>
            <a:off x="6795396" y="4299183"/>
            <a:ext cx="2955807" cy="29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None/>
              <a:defRPr sz="1600" b="1" cap="none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8" name="Google Shape;128;p42"/>
          <p:cNvSpPr txBox="1">
            <a:spLocks noGrp="1"/>
          </p:cNvSpPr>
          <p:nvPr>
            <p:ph type="body" idx="8"/>
          </p:nvPr>
        </p:nvSpPr>
        <p:spPr>
          <a:xfrm>
            <a:off x="6795697" y="4641023"/>
            <a:ext cx="4111902" cy="69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200"/>
              <a:buFont typeface="Arial"/>
              <a:buNone/>
              <a:defRPr sz="1200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9" name="Google Shape;129;p42"/>
          <p:cNvSpPr txBox="1">
            <a:spLocks noGrp="1"/>
          </p:cNvSpPr>
          <p:nvPr>
            <p:ph type="body" idx="9"/>
          </p:nvPr>
        </p:nvSpPr>
        <p:spPr>
          <a:xfrm>
            <a:off x="6796600" y="5534738"/>
            <a:ext cx="2955807" cy="29289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None/>
              <a:defRPr sz="1600" b="1" cap="none"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0" name="Google Shape;130;p42"/>
          <p:cNvSpPr txBox="1">
            <a:spLocks noGrp="1"/>
          </p:cNvSpPr>
          <p:nvPr>
            <p:ph type="body" idx="13"/>
          </p:nvPr>
        </p:nvSpPr>
        <p:spPr>
          <a:xfrm>
            <a:off x="6796901" y="5876578"/>
            <a:ext cx="4111902" cy="69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1200"/>
              <a:buFont typeface="Arial"/>
              <a:buNone/>
              <a:defRPr sz="1200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1" name="Google Shape;131;p4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-931"/>
            <a:ext cx="4902926" cy="685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2" name="Google Shape;132;p42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208599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174489734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_default_v1">
  <p:cSld name="Chapter slide_default_v1">
    <p:spTree>
      <p:nvGrpSpPr>
        <p:cNvPr id="1" name="Shape 1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4" name="Google Shape;134;p43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5" name="Google Shape;135;p43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36" name="Google Shape;136;p43"/>
          <p:cNvSpPr>
            <a:spLocks noGrp="1"/>
          </p:cNvSpPr>
          <p:nvPr>
            <p:ph type="pic" idx="2"/>
          </p:nvPr>
        </p:nvSpPr>
        <p:spPr>
          <a:xfrm>
            <a:off x="6306399" y="0"/>
            <a:ext cx="588560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2400"/>
              <a:buFont typeface="Arial"/>
              <a:buNone/>
              <a:defRPr sz="24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pic>
        <p:nvPicPr>
          <p:cNvPr id="137" name="Google Shape;137;p4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sp>
        <p:nvSpPr>
          <p:cNvPr id="138" name="Google Shape;138;p43"/>
          <p:cNvSpPr txBox="1">
            <a:spLocks noGrp="1"/>
          </p:cNvSpPr>
          <p:nvPr>
            <p:ph type="title"/>
          </p:nvPr>
        </p:nvSpPr>
        <p:spPr>
          <a:xfrm>
            <a:off x="462720" y="2628900"/>
            <a:ext cx="4729757" cy="192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>
                <a:solidFill>
                  <a:srgbClr val="2F2F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39" name="Google Shape;139;p43"/>
          <p:cNvSpPr txBox="1"/>
          <p:nvPr/>
        </p:nvSpPr>
        <p:spPr>
          <a:xfrm>
            <a:off x="278829" y="6562538"/>
            <a:ext cx="947477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58684773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image_v2">
  <p:cSld name="Content slide_image_v2">
    <p:spTree>
      <p:nvGrpSpPr>
        <p:cNvPr id="1" name="Shape 1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" name="Google Shape;141;p44"/>
          <p:cNvSpPr>
            <a:spLocks noGrp="1"/>
          </p:cNvSpPr>
          <p:nvPr>
            <p:ph type="pic" idx="2"/>
          </p:nvPr>
        </p:nvSpPr>
        <p:spPr>
          <a:xfrm>
            <a:off x="6969772" y="1262541"/>
            <a:ext cx="2440343" cy="497541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1200"/>
              <a:buFont typeface="Arial"/>
              <a:buNone/>
              <a:defRPr sz="12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42" name="Google Shape;142;p44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43" name="Google Shape;143;p44"/>
          <p:cNvSpPr txBox="1"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44" name="Google Shape;144;p44"/>
          <p:cNvSpPr txBox="1">
            <a:spLocks noGrp="1"/>
          </p:cNvSpPr>
          <p:nvPr>
            <p:ph type="body" idx="1"/>
          </p:nvPr>
        </p:nvSpPr>
        <p:spPr>
          <a:xfrm>
            <a:off x="547036" y="1262540"/>
            <a:ext cx="6196039" cy="49755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400"/>
              <a:buFont typeface="Arial"/>
              <a:buChar char="•"/>
              <a:defRPr sz="14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000"/>
              <a:buFont typeface="Arial"/>
              <a:buChar char="•"/>
              <a:defRPr sz="10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5" name="Google Shape;145;p44"/>
          <p:cNvSpPr>
            <a:spLocks noGrp="1"/>
          </p:cNvSpPr>
          <p:nvPr>
            <p:ph type="pic" idx="3"/>
          </p:nvPr>
        </p:nvSpPr>
        <p:spPr>
          <a:xfrm>
            <a:off x="9589829" y="1262670"/>
            <a:ext cx="2440343" cy="4975412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1200"/>
              <a:buFont typeface="Arial"/>
              <a:buNone/>
              <a:defRPr sz="12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cxnSp>
        <p:nvCxnSpPr>
          <p:cNvPr id="146" name="Google Shape;146;p44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7" name="Google Shape;147;p44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48" name="Google Shape;148;p4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808920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image_v3">
  <p:cSld name="Content slide_image_v3">
    <p:spTree>
      <p:nvGrpSpPr>
        <p:cNvPr id="1" name="Shape 1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" name="Google Shape;150;p45"/>
          <p:cNvSpPr>
            <a:spLocks noGrp="1"/>
          </p:cNvSpPr>
          <p:nvPr>
            <p:ph type="pic" idx="2"/>
          </p:nvPr>
        </p:nvSpPr>
        <p:spPr>
          <a:xfrm>
            <a:off x="476795" y="1025692"/>
            <a:ext cx="3343725" cy="261855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1200"/>
              <a:buFont typeface="Arial"/>
              <a:buNone/>
              <a:defRPr sz="12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51" name="Google Shape;151;p45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52" name="Google Shape;152;p45"/>
          <p:cNvSpPr txBox="1"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53" name="Google Shape;153;p45"/>
          <p:cNvSpPr txBox="1">
            <a:spLocks noGrp="1"/>
          </p:cNvSpPr>
          <p:nvPr>
            <p:ph type="body" idx="1"/>
          </p:nvPr>
        </p:nvSpPr>
        <p:spPr>
          <a:xfrm>
            <a:off x="4024567" y="1025692"/>
            <a:ext cx="7919857" cy="2618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400"/>
              <a:buFont typeface="Arial"/>
              <a:buChar char="•"/>
              <a:defRPr sz="14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000"/>
              <a:buFont typeface="Arial"/>
              <a:buChar char="•"/>
              <a:defRPr sz="10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4" name="Google Shape;154;p45"/>
          <p:cNvSpPr>
            <a:spLocks noGrp="1"/>
          </p:cNvSpPr>
          <p:nvPr>
            <p:ph type="pic" idx="3"/>
          </p:nvPr>
        </p:nvSpPr>
        <p:spPr>
          <a:xfrm>
            <a:off x="8600700" y="3787132"/>
            <a:ext cx="3343725" cy="261855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1200"/>
              <a:buFont typeface="Arial"/>
              <a:buNone/>
              <a:defRPr sz="12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55" name="Google Shape;155;p45"/>
          <p:cNvSpPr txBox="1">
            <a:spLocks noGrp="1"/>
          </p:cNvSpPr>
          <p:nvPr>
            <p:ph type="body" idx="4"/>
          </p:nvPr>
        </p:nvSpPr>
        <p:spPr>
          <a:xfrm>
            <a:off x="476795" y="3799503"/>
            <a:ext cx="7919857" cy="26185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lvl="0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>
                <a:latin typeface="Arial"/>
                <a:ea typeface="Arial"/>
                <a:cs typeface="Arial"/>
                <a:sym typeface="Arial"/>
              </a:defRPr>
            </a:lvl1pPr>
            <a:lvl2pPr marL="914400" lvl="1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>
                <a:latin typeface="Arial"/>
                <a:ea typeface="Arial"/>
                <a:cs typeface="Arial"/>
                <a:sym typeface="Arial"/>
              </a:defRPr>
            </a:lvl2pPr>
            <a:lvl3pPr marL="1371600" lvl="2" indent="-3175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400"/>
              <a:buFont typeface="Arial"/>
              <a:buChar char="•"/>
              <a:defRPr sz="1400">
                <a:latin typeface="Arial"/>
                <a:ea typeface="Arial"/>
                <a:cs typeface="Arial"/>
                <a:sym typeface="Arial"/>
              </a:defRPr>
            </a:lvl3pPr>
            <a:lvl4pPr marL="1828800" lvl="3" indent="-2921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000"/>
              <a:buFont typeface="Arial"/>
              <a:buChar char="•"/>
              <a:defRPr sz="1000">
                <a:latin typeface="Arial"/>
                <a:ea typeface="Arial"/>
                <a:cs typeface="Arial"/>
                <a:sym typeface="Arial"/>
              </a:defRPr>
            </a:lvl4pPr>
            <a:lvl5pPr marL="2286000" lvl="4" indent="-3302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>
                <a:latin typeface="Arial"/>
                <a:ea typeface="Arial"/>
                <a:cs typeface="Arial"/>
                <a:sym typeface="Arial"/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56" name="Google Shape;156;p45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" name="Google Shape;157;p45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8" name="Google Shape;158;p4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34568192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clean">
  <p:cSld name="Content slide_clean">
    <p:spTree>
      <p:nvGrpSpPr>
        <p:cNvPr id="1" name="Shape 1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Google Shape;160;p46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cxnSp>
        <p:nvCxnSpPr>
          <p:cNvPr id="161" name="Google Shape;161;p46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" name="Google Shape;162;p46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63" name="Google Shape;163;p4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236110285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0086" y="1019969"/>
            <a:ext cx="11520086" cy="5451475"/>
          </a:xfrm>
        </p:spPr>
        <p:txBody>
          <a:bodyPr/>
          <a:lstStyle>
            <a:lvl1pPr marL="228555" indent="-228555">
              <a:buFontTx/>
              <a:buBlip>
                <a:blip r:embed="rId2"/>
              </a:buBlip>
              <a:defRPr>
                <a:latin typeface="+mn-lt"/>
              </a:defRPr>
            </a:lvl1pPr>
            <a:lvl2pPr marL="685663" indent="-228555">
              <a:buFontTx/>
              <a:buBlip>
                <a:blip r:embed="rId2"/>
              </a:buBlip>
              <a:defRPr>
                <a:latin typeface="+mn-lt"/>
              </a:defRPr>
            </a:lvl2pPr>
            <a:lvl3pPr marL="1142772" indent="-228555">
              <a:buFontTx/>
              <a:buBlip>
                <a:blip r:embed="rId2"/>
              </a:buBlip>
              <a:defRPr>
                <a:latin typeface="+mn-lt"/>
              </a:defRPr>
            </a:lvl3pPr>
            <a:lvl4pPr marL="1599880" indent="-228555">
              <a:buFontTx/>
              <a:buBlip>
                <a:blip r:embed="rId2"/>
              </a:buBlip>
              <a:defRPr>
                <a:latin typeface="+mn-lt"/>
              </a:defRPr>
            </a:lvl4pPr>
            <a:lvl5pPr marL="2056989" indent="-228555">
              <a:buFontTx/>
              <a:buBlip>
                <a:blip r:embed="rId2"/>
              </a:buBlip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6" y="145322"/>
            <a:ext cx="1121606" cy="467834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6983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statement_v1">
  <p:cSld name="Content slide_statement_v1"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9" name="Google Shape;169;p4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3171" cy="4275909"/>
          </a:xfrm>
          <a:prstGeom prst="rect">
            <a:avLst/>
          </a:prstGeom>
          <a:noFill/>
          <a:ln>
            <a:noFill/>
          </a:ln>
        </p:spPr>
      </p:pic>
      <p:sp>
        <p:nvSpPr>
          <p:cNvPr id="170" name="Google Shape;170;p48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71" name="Google Shape;171;p48"/>
          <p:cNvSpPr/>
          <p:nvPr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rgbClr val="B5C3D6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72" name="Google Shape;172;p48"/>
          <p:cNvSpPr txBox="1">
            <a:spLocks noGrp="1"/>
          </p:cNvSpPr>
          <p:nvPr>
            <p:ph type="body" idx="1"/>
          </p:nvPr>
        </p:nvSpPr>
        <p:spPr>
          <a:xfrm>
            <a:off x="1219518" y="3876675"/>
            <a:ext cx="10127712" cy="210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 i="1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3" name="Google Shape;173;p48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74" name="Google Shape;174;p48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" name="Google Shape;175;p48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96305271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statement_v3">
  <p:cSld name="Content slide_statement_v3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7" name="Google Shape;177;p4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1678" cy="4362994"/>
          </a:xfrm>
          <a:prstGeom prst="rect">
            <a:avLst/>
          </a:prstGeom>
          <a:noFill/>
          <a:ln>
            <a:noFill/>
          </a:ln>
        </p:spPr>
      </p:pic>
      <p:sp>
        <p:nvSpPr>
          <p:cNvPr id="178" name="Google Shape;178;p49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79" name="Google Shape;179;p49"/>
          <p:cNvSpPr/>
          <p:nvPr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rgbClr val="B5C3D6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80" name="Google Shape;180;p49"/>
          <p:cNvSpPr txBox="1">
            <a:spLocks noGrp="1"/>
          </p:cNvSpPr>
          <p:nvPr>
            <p:ph type="body" idx="1"/>
          </p:nvPr>
        </p:nvSpPr>
        <p:spPr>
          <a:xfrm>
            <a:off x="1219518" y="3876675"/>
            <a:ext cx="10127712" cy="210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3000"/>
              <a:buFont typeface="Arial"/>
              <a:buNone/>
              <a:defRPr sz="3000" i="1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cxnSp>
        <p:nvCxnSpPr>
          <p:cNvPr id="181" name="Google Shape;181;p49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" name="Google Shape;182;p49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83" name="Google Shape;183;p49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14558559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_statement_default">
  <p:cSld name="Content slide_statement_default">
    <p:spTree>
      <p:nvGrpSpPr>
        <p:cNvPr id="1" name="Shape 1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" name="Google Shape;185;p50"/>
          <p:cNvSpPr>
            <a:spLocks noGrp="1"/>
          </p:cNvSpPr>
          <p:nvPr>
            <p:ph type="pic" idx="2"/>
          </p:nvPr>
        </p:nvSpPr>
        <p:spPr>
          <a:xfrm>
            <a:off x="276297" y="0"/>
            <a:ext cx="11915703" cy="4314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B2B2B2"/>
              </a:buClr>
              <a:buSzPts val="2400"/>
              <a:buFont typeface="Arial"/>
              <a:buNone/>
              <a:defRPr sz="2400" b="0" i="1" u="none" strike="noStrike" cap="none">
                <a:solidFill>
                  <a:srgbClr val="B2B2B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dirty="0"/>
              <a:t>Click icon to add picture</a:t>
            </a:r>
            <a:endParaRPr dirty="0"/>
          </a:p>
        </p:txBody>
      </p:sp>
      <p:sp>
        <p:nvSpPr>
          <p:cNvPr id="186" name="Google Shape;186;p50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87" name="Google Shape;187;p50"/>
          <p:cNvSpPr/>
          <p:nvPr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rgbClr val="B5C3D6">
              <a:alpha val="60000"/>
            </a:srgbClr>
          </a:solidFill>
          <a:ln>
            <a:noFill/>
          </a:ln>
          <a:effectLst>
            <a:outerShdw blurRad="50800" dist="38100" dir="5400000" algn="t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188" name="Google Shape;188;p50"/>
          <p:cNvSpPr txBox="1">
            <a:spLocks noGrp="1"/>
          </p:cNvSpPr>
          <p:nvPr>
            <p:ph type="body" idx="1"/>
          </p:nvPr>
        </p:nvSpPr>
        <p:spPr>
          <a:xfrm>
            <a:off x="1219518" y="3876675"/>
            <a:ext cx="10127712" cy="21050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L="457200" lvl="0" indent="-22860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sz="3000" i="1">
                <a:solidFill>
                  <a:srgbClr val="2F2F2F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89" name="Google Shape;189;p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90" name="Google Shape;190;p50"/>
          <p:cNvCxnSpPr/>
          <p:nvPr/>
        </p:nvCxnSpPr>
        <p:spPr>
          <a:xfrm>
            <a:off x="369374" y="6630055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" name="Google Shape;191;p50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17418443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Google Shape;211;p5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12" name="Google Shape;212;p52"/>
          <p:cNvSpPr txBox="1">
            <a:spLocks noGrp="1"/>
          </p:cNvSpPr>
          <p:nvPr>
            <p:ph type="ftr" idx="11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  <p:sp>
        <p:nvSpPr>
          <p:cNvPr id="213" name="Google Shape;213;p52"/>
          <p:cNvSpPr txBox="1">
            <a:spLocks noGrp="1"/>
          </p:cNvSpPr>
          <p:nvPr>
            <p:ph type="sldNum" idx="12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0" marR="0" lvl="0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spcBef>
                <a:spcPts val="0"/>
              </a:spcBef>
              <a:buNone/>
              <a:defRPr sz="1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687620399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efault Slide">
  <p:cSld name="Default Slide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" name="Google Shape;215;p53"/>
          <p:cNvSpPr txBox="1"/>
          <p:nvPr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834066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 bwMode="auto">
          <a:xfrm>
            <a:off x="-35983" y="1"/>
            <a:ext cx="12192001" cy="6804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  <p:pic>
        <p:nvPicPr>
          <p:cNvPr id="6" name="Picture 2" descr="C:\Users\Wkk\Desktop\STP\pic\hkstp_response-to-ces-2018-policy-address-crop.jpg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4850" y="2"/>
            <a:ext cx="12216850" cy="6865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 descr="C:\Users\Wkk\Desktop\STP\source\ppt\media\image87.png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2580" y="188550"/>
            <a:ext cx="1547041" cy="69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359135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 userDrawn="1"/>
        </p:nvSpPr>
        <p:spPr>
          <a:xfrm>
            <a:off x="0" y="-3100"/>
            <a:ext cx="12192000" cy="1102695"/>
          </a:xfrm>
          <a:prstGeom prst="rect">
            <a:avLst/>
          </a:prstGeom>
          <a:solidFill>
            <a:srgbClr val="173A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-3100"/>
            <a:ext cx="363071" cy="1102695"/>
          </a:xfrm>
          <a:prstGeom prst="rect">
            <a:avLst/>
          </a:prstGeom>
          <a:solidFill>
            <a:srgbClr val="E77A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0" hasCustomPrompt="1"/>
          </p:nvPr>
        </p:nvSpPr>
        <p:spPr>
          <a:xfrm>
            <a:off x="593725" y="277000"/>
            <a:ext cx="5927725" cy="542494"/>
          </a:xfrm>
        </p:spPr>
        <p:txBody>
          <a:bodyPr>
            <a:normAutofit/>
          </a:bodyPr>
          <a:lstStyle>
            <a:lvl1pPr marL="0" indent="0">
              <a:buNone/>
              <a:defRPr sz="2800" b="1" i="0">
                <a:solidFill>
                  <a:schemeClr val="bg1"/>
                </a:solidFill>
                <a:latin typeface="+mn-lt"/>
                <a:ea typeface="DIN" charset="0"/>
                <a:cs typeface="DIN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2"/>
          </p:nvPr>
        </p:nvSpPr>
        <p:spPr>
          <a:xfrm>
            <a:off x="593725" y="1285875"/>
            <a:ext cx="11014075" cy="51641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32043584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332E7D-3F54-0443-A5DF-71EAB57232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52467" y="6444750"/>
            <a:ext cx="2743200" cy="365125"/>
          </a:xfrm>
        </p:spPr>
        <p:txBody>
          <a:bodyPr/>
          <a:lstStyle>
            <a:lvl1pPr>
              <a:defRPr sz="11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B0E9F3AF-264C-AD44-8AAE-F2CD3CF29CE3}" type="slidenum">
              <a:rPr lang="en-US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C5CF65DF-69D3-FD42-8E43-E6E659CB44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4067" y="6444750"/>
            <a:ext cx="4114800" cy="365125"/>
          </a:xfrm>
          <a:prstGeom prst="rect">
            <a:avLst/>
          </a:prstGeom>
        </p:spPr>
        <p:txBody>
          <a:bodyPr vert="horz" lIns="91434" tIns="45718" rIns="91434" bIns="45718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HK" dirty="0">
                <a:solidFill>
                  <a:prstClr val="black">
                    <a:tint val="75000"/>
                  </a:prstClr>
                </a:solidFill>
              </a:rPr>
              <a:t>Hong Kong Science &amp; Technology Parks Corporation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785EDEB-1D70-CB46-AF2B-5B265F31EB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"/>
            <a:ext cx="12173816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14463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hapter slide_C_v2">
  <p:cSld name="Chapter slide_C_v2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Google Shape;46;p35"/>
          <p:cNvCxnSpPr/>
          <p:nvPr/>
        </p:nvCxnSpPr>
        <p:spPr>
          <a:xfrm>
            <a:off x="369374" y="6595219"/>
            <a:ext cx="11660799" cy="0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47" name="Google Shape;47;p3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031" y="0"/>
            <a:ext cx="579696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48" name="Google Shape;48;p35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49" name="Google Shape;49;p35"/>
          <p:cNvSpPr txBox="1"/>
          <p:nvPr/>
        </p:nvSpPr>
        <p:spPr>
          <a:xfrm>
            <a:off x="11558095" y="6630055"/>
            <a:ext cx="472077" cy="23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22850" rIns="45700" bIns="2285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rgbClr val="6D7783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dirty="0">
              <a:solidFill>
                <a:srgbClr val="6D778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50" name="Google Shape;50;p35"/>
          <p:cNvSpPr txBox="1">
            <a:spLocks noGrp="1"/>
          </p:cNvSpPr>
          <p:nvPr>
            <p:ph type="title"/>
          </p:nvPr>
        </p:nvSpPr>
        <p:spPr>
          <a:xfrm>
            <a:off x="462720" y="2628900"/>
            <a:ext cx="4729757" cy="19240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cap="none">
                <a:solidFill>
                  <a:srgbClr val="2F2F2F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pic>
        <p:nvPicPr>
          <p:cNvPr id="51" name="Google Shape;51;p35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4122" y="114987"/>
            <a:ext cx="1487878" cy="809939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52;p35"/>
          <p:cNvSpPr txBox="1"/>
          <p:nvPr/>
        </p:nvSpPr>
        <p:spPr>
          <a:xfrm>
            <a:off x="278829" y="6562538"/>
            <a:ext cx="8987091" cy="3385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Private &amp; Confidential.  All Rights Reserved.  </a:t>
            </a:r>
            <a:endParaRPr dirty="0"/>
          </a:p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800" b="1" i="1" dirty="0">
                <a:solidFill>
                  <a:srgbClr val="7F7F7F"/>
                </a:solidFill>
                <a:latin typeface="Arial"/>
                <a:ea typeface="Arial"/>
                <a:cs typeface="Arial"/>
                <a:sym typeface="Arial"/>
              </a:rPr>
              <a:t>Do not copy or distribute without written permission from Hong Kong Science and Technology Parks Corporation</a:t>
            </a:r>
            <a:endParaRPr sz="800" b="1" i="1" dirty="0">
              <a:solidFill>
                <a:srgbClr val="7F7F7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00378556"/>
      </p:ext>
    </p:extLst>
  </p:cSld>
  <p:clrMapOvr>
    <a:masterClrMapping/>
  </p:clrMapOvr>
  <p:hf hdr="0" ft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_clea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5529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7391" y="1262541"/>
            <a:ext cx="4985675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2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6" y="145322"/>
            <a:ext cx="1121606" cy="467834"/>
          </a:xfrm>
          <a:prstGeom prst="rect">
            <a:avLst/>
          </a:prstGeom>
        </p:spPr>
      </p:pic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Unrestricted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E9C0A26-D7F5-48E8-A7BE-B3E5BE08B2CC}"/>
              </a:ext>
            </a:extLst>
          </p:cNvPr>
          <p:cNvSpPr txBox="1"/>
          <p:nvPr userDrawn="1"/>
        </p:nvSpPr>
        <p:spPr>
          <a:xfrm>
            <a:off x="5955863" y="6627422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CCD | </a:t>
            </a:r>
            <a:r>
              <a:rPr lang="en-HK" sz="800" i="1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rPr>
              <a:t>Incubation &amp; Acceleration Programmes_07_2021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221364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964" y="-1"/>
            <a:ext cx="11916684" cy="685364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94487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409655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75879" y="4815841"/>
            <a:ext cx="8483195" cy="406186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dirty="0"/>
              <a:t>Date (i.e. 202010.30)</a:t>
            </a:r>
          </a:p>
          <a:p>
            <a:pPr lvl="0"/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5879" y="5210856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88098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593" y="0"/>
            <a:ext cx="11907554" cy="68623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8640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363487"/>
            <a:ext cx="8483195" cy="1221515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  <a:p>
            <a:pPr lvl="0"/>
            <a:r>
              <a:rPr lang="en-HK" dirty="0"/>
              <a:t>Date (i.e. 202010.30)</a:t>
            </a:r>
          </a:p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966931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FC1CD19-B242-4241-9E8D-E52D4F20B202}"/>
              </a:ext>
            </a:extLst>
          </p:cNvPr>
          <p:cNvSpPr txBox="1"/>
          <p:nvPr userDrawn="1"/>
        </p:nvSpPr>
        <p:spPr>
          <a:xfrm>
            <a:off x="5566853" y="289567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1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19466F-ACB2-8D49-B05A-4B51B5024F7C}"/>
              </a:ext>
            </a:extLst>
          </p:cNvPr>
          <p:cNvSpPr txBox="1"/>
          <p:nvPr userDrawn="1"/>
        </p:nvSpPr>
        <p:spPr>
          <a:xfrm>
            <a:off x="5632575" y="589648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1"/>
                </a:solidFill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D06593-BEE5-1C4A-8717-41A96FDA4158}"/>
              </a:ext>
            </a:extLst>
          </p:cNvPr>
          <p:cNvSpPr txBox="1"/>
          <p:nvPr userDrawn="1"/>
        </p:nvSpPr>
        <p:spPr>
          <a:xfrm>
            <a:off x="5566853" y="1536568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2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2C15D2-5286-2B4F-9F7D-1FFCAAD39622}"/>
              </a:ext>
            </a:extLst>
          </p:cNvPr>
          <p:cNvSpPr txBox="1"/>
          <p:nvPr userDrawn="1"/>
        </p:nvSpPr>
        <p:spPr>
          <a:xfrm>
            <a:off x="5632575" y="1836650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2"/>
                </a:solidFill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1B8393-7BC2-1140-8D4D-2250550A3F2A}"/>
              </a:ext>
            </a:extLst>
          </p:cNvPr>
          <p:cNvSpPr txBox="1"/>
          <p:nvPr userDrawn="1"/>
        </p:nvSpPr>
        <p:spPr>
          <a:xfrm>
            <a:off x="5566853" y="2783569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3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3C6AF-7D12-FF42-81D1-CD4583B2A58E}"/>
              </a:ext>
            </a:extLst>
          </p:cNvPr>
          <p:cNvSpPr txBox="1"/>
          <p:nvPr userDrawn="1"/>
        </p:nvSpPr>
        <p:spPr>
          <a:xfrm>
            <a:off x="5632575" y="3083651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3"/>
                </a:solidFill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2293BD-E57D-334A-9CA0-D8B758CB8403}"/>
              </a:ext>
            </a:extLst>
          </p:cNvPr>
          <p:cNvSpPr txBox="1"/>
          <p:nvPr userDrawn="1"/>
        </p:nvSpPr>
        <p:spPr>
          <a:xfrm>
            <a:off x="5566853" y="4030570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4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E3177D-A949-6E4A-8254-F8506A387C71}"/>
              </a:ext>
            </a:extLst>
          </p:cNvPr>
          <p:cNvSpPr txBox="1"/>
          <p:nvPr userDrawn="1"/>
        </p:nvSpPr>
        <p:spPr>
          <a:xfrm>
            <a:off x="5632575" y="4330652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4"/>
                </a:solidFill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7843923-C13C-EF40-A8AE-D434D3180793}"/>
              </a:ext>
            </a:extLst>
          </p:cNvPr>
          <p:cNvSpPr txBox="1"/>
          <p:nvPr userDrawn="1"/>
        </p:nvSpPr>
        <p:spPr>
          <a:xfrm>
            <a:off x="5566853" y="5277572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5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5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1BB2442-641A-754F-8859-958EF846B10B}"/>
              </a:ext>
            </a:extLst>
          </p:cNvPr>
          <p:cNvSpPr txBox="1"/>
          <p:nvPr userDrawn="1"/>
        </p:nvSpPr>
        <p:spPr>
          <a:xfrm>
            <a:off x="5632575" y="5577653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5"/>
                </a:solidFill>
                <a:ea typeface="League Spartan" charset="0"/>
                <a:cs typeface="Poppins" pitchFamily="2" charset="77"/>
              </a:rPr>
              <a:t>05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24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26" name="Title 14"/>
          <p:cNvSpPr txBox="1">
            <a:spLocks/>
          </p:cNvSpPr>
          <p:nvPr userDrawn="1"/>
        </p:nvSpPr>
        <p:spPr>
          <a:xfrm>
            <a:off x="557659" y="5743070"/>
            <a:ext cx="4496051" cy="725117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1" i="0" kern="1200">
                <a:solidFill>
                  <a:schemeClr val="bg1">
                    <a:lumMod val="50000"/>
                  </a:schemeClr>
                </a:solidFill>
                <a:latin typeface="+mn-lt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algn="ctr"/>
            <a:r>
              <a:rPr lang="en-HK" sz="3000" cap="all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797930" y="6562538"/>
            <a:ext cx="6107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6796299" y="52484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1]</a:t>
            </a:r>
            <a:endParaRPr lang="en-US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6796600" y="86668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95998" y="17718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2]</a:t>
            </a:r>
            <a:endParaRPr lang="en-US" dirty="0"/>
          </a:p>
        </p:txBody>
      </p:sp>
      <p:sp>
        <p:nvSpPr>
          <p:cNvPr id="34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796299" y="21137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4" hasCustomPrompt="1"/>
          </p:nvPr>
        </p:nvSpPr>
        <p:spPr>
          <a:xfrm>
            <a:off x="6795697" y="30297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3]</a:t>
            </a:r>
            <a:endParaRPr lang="en-US" dirty="0"/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795998" y="33716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6795396" y="4299183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4]</a:t>
            </a:r>
            <a:endParaRPr lang="en-US" dirty="0"/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7" hasCustomPrompt="1"/>
          </p:nvPr>
        </p:nvSpPr>
        <p:spPr>
          <a:xfrm>
            <a:off x="6795697" y="4641023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9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6796600" y="553473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5]</a:t>
            </a:r>
            <a:endParaRPr lang="en-US" dirty="0"/>
          </a:p>
        </p:txBody>
      </p:sp>
      <p:sp>
        <p:nvSpPr>
          <p:cNvPr id="40" name="Text Placeholder 31"/>
          <p:cNvSpPr>
            <a:spLocks noGrp="1"/>
          </p:cNvSpPr>
          <p:nvPr>
            <p:ph type="body" sz="quarter" idx="19" hasCustomPrompt="1"/>
          </p:nvPr>
        </p:nvSpPr>
        <p:spPr>
          <a:xfrm>
            <a:off x="6796901" y="587657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-931"/>
            <a:ext cx="4902926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208599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371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A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"/>
          <a:stretch/>
        </p:blipFill>
        <p:spPr>
          <a:xfrm>
            <a:off x="6460435" y="0"/>
            <a:ext cx="572860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1595354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94" r="17909"/>
          <a:stretch/>
        </p:blipFill>
        <p:spPr>
          <a:xfrm>
            <a:off x="5660571" y="0"/>
            <a:ext cx="653142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8830" y="6562538"/>
            <a:ext cx="8873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7028905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C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031" y="0"/>
            <a:ext cx="579696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278829" y="6562538"/>
            <a:ext cx="8987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1561647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1504" y="0"/>
            <a:ext cx="62005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8829" y="6562538"/>
            <a:ext cx="97447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4490775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6306399" y="0"/>
            <a:ext cx="5885601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78829" y="6562538"/>
            <a:ext cx="9474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0465556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5711242" y="0"/>
            <a:ext cx="3339865" cy="686695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569146" y="1427162"/>
            <a:ext cx="4995576" cy="43275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59499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0086" y="1019969"/>
            <a:ext cx="11520086" cy="5451475"/>
          </a:xfrm>
        </p:spPr>
        <p:txBody>
          <a:bodyPr/>
          <a:lstStyle>
            <a:lvl1pPr marL="228555" indent="-228555">
              <a:buFontTx/>
              <a:buBlip>
                <a:blip r:embed="rId2"/>
              </a:buBlip>
              <a:defRPr>
                <a:latin typeface="+mn-lt"/>
              </a:defRPr>
            </a:lvl1pPr>
            <a:lvl2pPr marL="685663" indent="-228555">
              <a:buFontTx/>
              <a:buBlip>
                <a:blip r:embed="rId2"/>
              </a:buBlip>
              <a:defRPr>
                <a:latin typeface="+mn-lt"/>
              </a:defRPr>
            </a:lvl2pPr>
            <a:lvl3pPr marL="1142772" indent="-228555">
              <a:buFontTx/>
              <a:buBlip>
                <a:blip r:embed="rId2"/>
              </a:buBlip>
              <a:defRPr>
                <a:latin typeface="+mn-lt"/>
              </a:defRPr>
            </a:lvl3pPr>
            <a:lvl4pPr marL="1599880" indent="-228555">
              <a:buFontTx/>
              <a:buBlip>
                <a:blip r:embed="rId2"/>
              </a:buBlip>
              <a:defRPr>
                <a:latin typeface="+mn-lt"/>
              </a:defRPr>
            </a:lvl4pPr>
            <a:lvl5pPr marL="2056989" indent="-228555">
              <a:buFontTx/>
              <a:buBlip>
                <a:blip r:embed="rId2"/>
              </a:buBlip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7674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9772" y="1262541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89829" y="1262670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6" y="145322"/>
            <a:ext cx="1121606" cy="467834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054531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7391" y="1262541"/>
            <a:ext cx="4985675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2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8133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9772" y="1262541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89829" y="1262670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102936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795" y="102569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024567" y="1025692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0700" y="378713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6795" y="3799503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6092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42301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7514020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22220" cy="433346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223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3171" cy="42759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3710138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1678" cy="436299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24674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276297" y="0"/>
            <a:ext cx="11915703" cy="4314825"/>
          </a:xfrm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4991201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354036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4265343" y="3975043"/>
            <a:ext cx="3418944" cy="1376738"/>
            <a:chOff x="8528465" y="7950086"/>
            <a:chExt cx="6836108" cy="2753476"/>
          </a:xfrm>
        </p:grpSpPr>
        <p:grpSp>
          <p:nvGrpSpPr>
            <p:cNvPr id="11" name="Group 10"/>
            <p:cNvGrpSpPr/>
            <p:nvPr/>
          </p:nvGrpSpPr>
          <p:grpSpPr>
            <a:xfrm>
              <a:off x="8528465" y="7950086"/>
              <a:ext cx="6836108" cy="2753476"/>
              <a:chOff x="8374925" y="6676812"/>
              <a:chExt cx="6836108" cy="275347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374925" y="7950086"/>
                <a:ext cx="6836108" cy="1480202"/>
                <a:chOff x="13130764" y="5664086"/>
                <a:chExt cx="6836108" cy="148020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64A36400-CC94-5944-9B6E-748029E0EF99}"/>
                    </a:ext>
                  </a:extLst>
                </p:cNvPr>
                <p:cNvSpPr/>
                <p:nvPr/>
              </p:nvSpPr>
              <p:spPr>
                <a:xfrm>
                  <a:off x="13130764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6" name="Freeform 1">
                  <a:extLst>
                    <a:ext uri="{FF2B5EF4-FFF2-40B4-BE49-F238E27FC236}">
                      <a16:creationId xmlns:a16="http://schemas.microsoft.com/office/drawing/2014/main" id="{0C0946D3-D99A-3F49-A310-2F87A03BF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57458" y="5947177"/>
                  <a:ext cx="426805" cy="914008"/>
                </a:xfrm>
                <a:custGeom>
                  <a:avLst/>
                  <a:gdLst>
                    <a:gd name="T0" fmla="*/ 303 w 1401"/>
                    <a:gd name="T1" fmla="*/ 582 h 3001"/>
                    <a:gd name="T2" fmla="*/ 303 w 1401"/>
                    <a:gd name="T3" fmla="*/ 994 h 3001"/>
                    <a:gd name="T4" fmla="*/ 0 w 1401"/>
                    <a:gd name="T5" fmla="*/ 994 h 3001"/>
                    <a:gd name="T6" fmla="*/ 0 w 1401"/>
                    <a:gd name="T7" fmla="*/ 1499 h 3001"/>
                    <a:gd name="T8" fmla="*/ 303 w 1401"/>
                    <a:gd name="T9" fmla="*/ 1499 h 3001"/>
                    <a:gd name="T10" fmla="*/ 303 w 1401"/>
                    <a:gd name="T11" fmla="*/ 3000 h 3001"/>
                    <a:gd name="T12" fmla="*/ 924 w 1401"/>
                    <a:gd name="T13" fmla="*/ 3000 h 3001"/>
                    <a:gd name="T14" fmla="*/ 924 w 1401"/>
                    <a:gd name="T15" fmla="*/ 1500 h 3001"/>
                    <a:gd name="T16" fmla="*/ 1341 w 1401"/>
                    <a:gd name="T17" fmla="*/ 1500 h 3001"/>
                    <a:gd name="T18" fmla="*/ 1341 w 1401"/>
                    <a:gd name="T19" fmla="*/ 1500 h 3001"/>
                    <a:gd name="T20" fmla="*/ 1399 w 1401"/>
                    <a:gd name="T21" fmla="*/ 993 h 3001"/>
                    <a:gd name="T22" fmla="*/ 926 w 1401"/>
                    <a:gd name="T23" fmla="*/ 993 h 3001"/>
                    <a:gd name="T24" fmla="*/ 926 w 1401"/>
                    <a:gd name="T25" fmla="*/ 647 h 3001"/>
                    <a:gd name="T26" fmla="*/ 926 w 1401"/>
                    <a:gd name="T27" fmla="*/ 647 h 3001"/>
                    <a:gd name="T28" fmla="*/ 1061 w 1401"/>
                    <a:gd name="T29" fmla="*/ 526 h 3001"/>
                    <a:gd name="T30" fmla="*/ 1400 w 1401"/>
                    <a:gd name="T31" fmla="*/ 526 h 3001"/>
                    <a:gd name="T32" fmla="*/ 1400 w 1401"/>
                    <a:gd name="T33" fmla="*/ 0 h 3001"/>
                    <a:gd name="T34" fmla="*/ 939 w 1401"/>
                    <a:gd name="T35" fmla="*/ 0 h 3001"/>
                    <a:gd name="T36" fmla="*/ 939 w 1401"/>
                    <a:gd name="T37" fmla="*/ 0 h 3001"/>
                    <a:gd name="T38" fmla="*/ 303 w 1401"/>
                    <a:gd name="T39" fmla="*/ 582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01" h="3001">
                      <a:moveTo>
                        <a:pt x="303" y="582"/>
                      </a:moveTo>
                      <a:lnTo>
                        <a:pt x="303" y="994"/>
                      </a:lnTo>
                      <a:lnTo>
                        <a:pt x="0" y="994"/>
                      </a:lnTo>
                      <a:lnTo>
                        <a:pt x="0" y="1499"/>
                      </a:lnTo>
                      <a:lnTo>
                        <a:pt x="303" y="1499"/>
                      </a:lnTo>
                      <a:lnTo>
                        <a:pt x="303" y="3000"/>
                      </a:lnTo>
                      <a:lnTo>
                        <a:pt x="924" y="3000"/>
                      </a:lnTo>
                      <a:lnTo>
                        <a:pt x="924" y="1500"/>
                      </a:lnTo>
                      <a:lnTo>
                        <a:pt x="1341" y="1500"/>
                      </a:lnTo>
                      <a:lnTo>
                        <a:pt x="1341" y="1500"/>
                      </a:lnTo>
                      <a:cubicBezTo>
                        <a:pt x="1341" y="1500"/>
                        <a:pt x="1380" y="1257"/>
                        <a:pt x="1399" y="993"/>
                      </a:cubicBezTo>
                      <a:lnTo>
                        <a:pt x="926" y="993"/>
                      </a:lnTo>
                      <a:lnTo>
                        <a:pt x="926" y="647"/>
                      </a:lnTo>
                      <a:lnTo>
                        <a:pt x="926" y="647"/>
                      </a:lnTo>
                      <a:cubicBezTo>
                        <a:pt x="926" y="596"/>
                        <a:pt x="994" y="526"/>
                        <a:pt x="1061" y="526"/>
                      </a:cubicBezTo>
                      <a:lnTo>
                        <a:pt x="1400" y="526"/>
                      </a:lnTo>
                      <a:lnTo>
                        <a:pt x="1400" y="0"/>
                      </a:lnTo>
                      <a:lnTo>
                        <a:pt x="939" y="0"/>
                      </a:lnTo>
                      <a:lnTo>
                        <a:pt x="939" y="0"/>
                      </a:lnTo>
                      <a:cubicBezTo>
                        <a:pt x="287" y="0"/>
                        <a:pt x="303" y="506"/>
                        <a:pt x="303" y="58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06FAB05E-CE5A-A845-87CD-424BC03CA7F7}"/>
                    </a:ext>
                  </a:extLst>
                </p:cNvPr>
                <p:cNvSpPr/>
                <p:nvPr/>
              </p:nvSpPr>
              <p:spPr>
                <a:xfrm>
                  <a:off x="14916561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8" name="Freeform 3">
                  <a:extLst>
                    <a:ext uri="{FF2B5EF4-FFF2-40B4-BE49-F238E27FC236}">
                      <a16:creationId xmlns:a16="http://schemas.microsoft.com/office/drawing/2014/main" id="{45723339-63E7-7E4F-A0F7-4B02C15A4C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11033" y="6103223"/>
                  <a:ext cx="894037" cy="614110"/>
                </a:xfrm>
                <a:custGeom>
                  <a:avLst/>
                  <a:gdLst>
                    <a:gd name="T0" fmla="*/ 1880 w 5013"/>
                    <a:gd name="T1" fmla="*/ 2663 h 3446"/>
                    <a:gd name="T2" fmla="*/ 1880 w 5013"/>
                    <a:gd name="T3" fmla="*/ 783 h 3446"/>
                    <a:gd name="T4" fmla="*/ 3446 w 5013"/>
                    <a:gd name="T5" fmla="*/ 1723 h 3446"/>
                    <a:gd name="T6" fmla="*/ 1880 w 5013"/>
                    <a:gd name="T7" fmla="*/ 2663 h 3446"/>
                    <a:gd name="T8" fmla="*/ 4799 w 5013"/>
                    <a:gd name="T9" fmla="*/ 332 h 3446"/>
                    <a:gd name="T10" fmla="*/ 4799 w 5013"/>
                    <a:gd name="T11" fmla="*/ 332 h 3446"/>
                    <a:gd name="T12" fmla="*/ 4215 w 5013"/>
                    <a:gd name="T13" fmla="*/ 28 h 3446"/>
                    <a:gd name="T14" fmla="*/ 4215 w 5013"/>
                    <a:gd name="T15" fmla="*/ 28 h 3446"/>
                    <a:gd name="T16" fmla="*/ 2507 w 5013"/>
                    <a:gd name="T17" fmla="*/ 0 h 3446"/>
                    <a:gd name="T18" fmla="*/ 2507 w 5013"/>
                    <a:gd name="T19" fmla="*/ 0 h 3446"/>
                    <a:gd name="T20" fmla="*/ 797 w 5013"/>
                    <a:gd name="T21" fmla="*/ 28 h 3446"/>
                    <a:gd name="T22" fmla="*/ 797 w 5013"/>
                    <a:gd name="T23" fmla="*/ 28 h 3446"/>
                    <a:gd name="T24" fmla="*/ 212 w 5013"/>
                    <a:gd name="T25" fmla="*/ 332 h 3446"/>
                    <a:gd name="T26" fmla="*/ 212 w 5013"/>
                    <a:gd name="T27" fmla="*/ 332 h 3446"/>
                    <a:gd name="T28" fmla="*/ 0 w 5013"/>
                    <a:gd name="T29" fmla="*/ 1722 h 3446"/>
                    <a:gd name="T30" fmla="*/ 0 w 5013"/>
                    <a:gd name="T31" fmla="*/ 1723 h 3446"/>
                    <a:gd name="T32" fmla="*/ 0 w 5013"/>
                    <a:gd name="T33" fmla="*/ 1723 h 3446"/>
                    <a:gd name="T34" fmla="*/ 0 w 5013"/>
                    <a:gd name="T35" fmla="*/ 1724 h 3446"/>
                    <a:gd name="T36" fmla="*/ 0 w 5013"/>
                    <a:gd name="T37" fmla="*/ 1724 h 3446"/>
                    <a:gd name="T38" fmla="*/ 212 w 5013"/>
                    <a:gd name="T39" fmla="*/ 3111 h 3446"/>
                    <a:gd name="T40" fmla="*/ 212 w 5013"/>
                    <a:gd name="T41" fmla="*/ 3111 h 3446"/>
                    <a:gd name="T42" fmla="*/ 797 w 5013"/>
                    <a:gd name="T43" fmla="*/ 3418 h 3446"/>
                    <a:gd name="T44" fmla="*/ 797 w 5013"/>
                    <a:gd name="T45" fmla="*/ 3418 h 3446"/>
                    <a:gd name="T46" fmla="*/ 2507 w 5013"/>
                    <a:gd name="T47" fmla="*/ 3445 h 3446"/>
                    <a:gd name="T48" fmla="*/ 2507 w 5013"/>
                    <a:gd name="T49" fmla="*/ 3445 h 3446"/>
                    <a:gd name="T50" fmla="*/ 4215 w 5013"/>
                    <a:gd name="T51" fmla="*/ 3418 h 3446"/>
                    <a:gd name="T52" fmla="*/ 4215 w 5013"/>
                    <a:gd name="T53" fmla="*/ 3418 h 3446"/>
                    <a:gd name="T54" fmla="*/ 4799 w 5013"/>
                    <a:gd name="T55" fmla="*/ 3112 h 3446"/>
                    <a:gd name="T56" fmla="*/ 4799 w 5013"/>
                    <a:gd name="T57" fmla="*/ 3112 h 3446"/>
                    <a:gd name="T58" fmla="*/ 5012 w 5013"/>
                    <a:gd name="T59" fmla="*/ 1725 h 3446"/>
                    <a:gd name="T60" fmla="*/ 5012 w 5013"/>
                    <a:gd name="T61" fmla="*/ 1723 h 3446"/>
                    <a:gd name="T62" fmla="*/ 5012 w 5013"/>
                    <a:gd name="T63" fmla="*/ 1722 h 3446"/>
                    <a:gd name="T64" fmla="*/ 5012 w 5013"/>
                    <a:gd name="T65" fmla="*/ 1722 h 3446"/>
                    <a:gd name="T66" fmla="*/ 4799 w 5013"/>
                    <a:gd name="T67" fmla="*/ 332 h 3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13" h="3446">
                      <a:moveTo>
                        <a:pt x="1880" y="2663"/>
                      </a:moveTo>
                      <a:lnTo>
                        <a:pt x="1880" y="783"/>
                      </a:lnTo>
                      <a:lnTo>
                        <a:pt x="3446" y="1723"/>
                      </a:lnTo>
                      <a:lnTo>
                        <a:pt x="1880" y="2663"/>
                      </a:lnTo>
                      <a:close/>
                      <a:moveTo>
                        <a:pt x="4799" y="332"/>
                      </a:moveTo>
                      <a:lnTo>
                        <a:pt x="4799" y="332"/>
                      </a:lnTo>
                      <a:cubicBezTo>
                        <a:pt x="4663" y="90"/>
                        <a:pt x="4515" y="45"/>
                        <a:pt x="4215" y="28"/>
                      </a:cubicBezTo>
                      <a:lnTo>
                        <a:pt x="4215" y="28"/>
                      </a:lnTo>
                      <a:cubicBezTo>
                        <a:pt x="3915" y="8"/>
                        <a:pt x="3160" y="0"/>
                        <a:pt x="2507" y="0"/>
                      </a:cubicBezTo>
                      <a:lnTo>
                        <a:pt x="2507" y="0"/>
                      </a:lnTo>
                      <a:cubicBezTo>
                        <a:pt x="1852" y="0"/>
                        <a:pt x="1097" y="8"/>
                        <a:pt x="797" y="28"/>
                      </a:cubicBezTo>
                      <a:lnTo>
                        <a:pt x="797" y="28"/>
                      </a:lnTo>
                      <a:cubicBezTo>
                        <a:pt x="497" y="45"/>
                        <a:pt x="350" y="89"/>
                        <a:pt x="212" y="332"/>
                      </a:cubicBezTo>
                      <a:lnTo>
                        <a:pt x="212" y="332"/>
                      </a:lnTo>
                      <a:cubicBezTo>
                        <a:pt x="72" y="573"/>
                        <a:pt x="0" y="989"/>
                        <a:pt x="0" y="1722"/>
                      </a:cubicBezTo>
                      <a:lnTo>
                        <a:pt x="0" y="1723"/>
                      </a:lnTo>
                      <a:lnTo>
                        <a:pt x="0" y="1723"/>
                      </a:lnTo>
                      <a:lnTo>
                        <a:pt x="0" y="1724"/>
                      </a:lnTo>
                      <a:lnTo>
                        <a:pt x="0" y="1724"/>
                      </a:lnTo>
                      <a:cubicBezTo>
                        <a:pt x="0" y="2453"/>
                        <a:pt x="72" y="2873"/>
                        <a:pt x="212" y="3111"/>
                      </a:cubicBezTo>
                      <a:lnTo>
                        <a:pt x="212" y="3111"/>
                      </a:lnTo>
                      <a:cubicBezTo>
                        <a:pt x="350" y="3353"/>
                        <a:pt x="497" y="3397"/>
                        <a:pt x="797" y="3418"/>
                      </a:cubicBezTo>
                      <a:lnTo>
                        <a:pt x="797" y="3418"/>
                      </a:lnTo>
                      <a:cubicBezTo>
                        <a:pt x="1097" y="3435"/>
                        <a:pt x="1852" y="3445"/>
                        <a:pt x="2507" y="3445"/>
                      </a:cubicBezTo>
                      <a:lnTo>
                        <a:pt x="2507" y="3445"/>
                      </a:lnTo>
                      <a:cubicBezTo>
                        <a:pt x="3160" y="3445"/>
                        <a:pt x="3915" y="3435"/>
                        <a:pt x="4215" y="3418"/>
                      </a:cubicBezTo>
                      <a:lnTo>
                        <a:pt x="4215" y="3418"/>
                      </a:lnTo>
                      <a:cubicBezTo>
                        <a:pt x="4516" y="3397"/>
                        <a:pt x="4664" y="3354"/>
                        <a:pt x="4799" y="3112"/>
                      </a:cubicBezTo>
                      <a:lnTo>
                        <a:pt x="4799" y="3112"/>
                      </a:lnTo>
                      <a:cubicBezTo>
                        <a:pt x="4941" y="2873"/>
                        <a:pt x="5012" y="2453"/>
                        <a:pt x="5012" y="1725"/>
                      </a:cubicBezTo>
                      <a:lnTo>
                        <a:pt x="5012" y="1723"/>
                      </a:lnTo>
                      <a:lnTo>
                        <a:pt x="5012" y="1722"/>
                      </a:lnTo>
                      <a:lnTo>
                        <a:pt x="5012" y="1722"/>
                      </a:lnTo>
                      <a:cubicBezTo>
                        <a:pt x="5012" y="989"/>
                        <a:pt x="4941" y="573"/>
                        <a:pt x="4799" y="3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6702358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C6FDA468-9051-804F-92C8-0CAACA78F5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06488" y="5968218"/>
                  <a:ext cx="871929" cy="871929"/>
                </a:xfrm>
                <a:custGeom>
                  <a:avLst/>
                  <a:gdLst>
                    <a:gd name="connsiteX0" fmla="*/ 902928 w 1804628"/>
                    <a:gd name="connsiteY0" fmla="*/ 620127 h 1804628"/>
                    <a:gd name="connsiteX1" fmla="*/ 621192 w 1804628"/>
                    <a:gd name="connsiteY1" fmla="*/ 902494 h 1804628"/>
                    <a:gd name="connsiteX2" fmla="*/ 902928 w 1804628"/>
                    <a:gd name="connsiteY2" fmla="*/ 1184502 h 1804628"/>
                    <a:gd name="connsiteX3" fmla="*/ 1185024 w 1804628"/>
                    <a:gd name="connsiteY3" fmla="*/ 902494 h 1804628"/>
                    <a:gd name="connsiteX4" fmla="*/ 902928 w 1804628"/>
                    <a:gd name="connsiteY4" fmla="*/ 620127 h 1804628"/>
                    <a:gd name="connsiteX5" fmla="*/ 902928 w 1804628"/>
                    <a:gd name="connsiteY5" fmla="*/ 450850 h 1804628"/>
                    <a:gd name="connsiteX6" fmla="*/ 1353778 w 1804628"/>
                    <a:gd name="connsiteY6" fmla="*/ 902494 h 1804628"/>
                    <a:gd name="connsiteX7" fmla="*/ 902928 w 1804628"/>
                    <a:gd name="connsiteY7" fmla="*/ 1353778 h 1804628"/>
                    <a:gd name="connsiteX8" fmla="*/ 452438 w 1804628"/>
                    <a:gd name="connsiteY8" fmla="*/ 902494 h 1804628"/>
                    <a:gd name="connsiteX9" fmla="*/ 902928 w 1804628"/>
                    <a:gd name="connsiteY9" fmla="*/ 450850 h 1804628"/>
                    <a:gd name="connsiteX10" fmla="*/ 1387295 w 1804628"/>
                    <a:gd name="connsiteY10" fmla="*/ 357188 h 1804628"/>
                    <a:gd name="connsiteX11" fmla="*/ 1447440 w 1804628"/>
                    <a:gd name="connsiteY11" fmla="*/ 416973 h 1804628"/>
                    <a:gd name="connsiteX12" fmla="*/ 1387295 w 1804628"/>
                    <a:gd name="connsiteY12" fmla="*/ 477478 h 1804628"/>
                    <a:gd name="connsiteX13" fmla="*/ 1327150 w 1804628"/>
                    <a:gd name="connsiteY13" fmla="*/ 416973 h 1804628"/>
                    <a:gd name="connsiteX14" fmla="*/ 1387295 w 1804628"/>
                    <a:gd name="connsiteY14" fmla="*/ 357188 h 1804628"/>
                    <a:gd name="connsiteX15" fmla="*/ 563968 w 1804628"/>
                    <a:gd name="connsiteY15" fmla="*/ 169262 h 1804628"/>
                    <a:gd name="connsiteX16" fmla="*/ 168902 w 1804628"/>
                    <a:gd name="connsiteY16" fmla="*/ 563969 h 1804628"/>
                    <a:gd name="connsiteX17" fmla="*/ 168902 w 1804628"/>
                    <a:gd name="connsiteY17" fmla="*/ 1241019 h 1804628"/>
                    <a:gd name="connsiteX18" fmla="*/ 563968 w 1804628"/>
                    <a:gd name="connsiteY18" fmla="*/ 1635365 h 1804628"/>
                    <a:gd name="connsiteX19" fmla="*/ 1240659 w 1804628"/>
                    <a:gd name="connsiteY19" fmla="*/ 1635365 h 1804628"/>
                    <a:gd name="connsiteX20" fmla="*/ 1635365 w 1804628"/>
                    <a:gd name="connsiteY20" fmla="*/ 1241019 h 1804628"/>
                    <a:gd name="connsiteX21" fmla="*/ 1635365 w 1804628"/>
                    <a:gd name="connsiteY21" fmla="*/ 563969 h 1804628"/>
                    <a:gd name="connsiteX22" fmla="*/ 1240659 w 1804628"/>
                    <a:gd name="connsiteY22" fmla="*/ 169262 h 1804628"/>
                    <a:gd name="connsiteX23" fmla="*/ 563968 w 1804628"/>
                    <a:gd name="connsiteY23" fmla="*/ 0 h 1804628"/>
                    <a:gd name="connsiteX24" fmla="*/ 1240659 w 1804628"/>
                    <a:gd name="connsiteY24" fmla="*/ 0 h 1804628"/>
                    <a:gd name="connsiteX25" fmla="*/ 1804628 w 1804628"/>
                    <a:gd name="connsiteY25" fmla="*/ 563969 h 1804628"/>
                    <a:gd name="connsiteX26" fmla="*/ 1804628 w 1804628"/>
                    <a:gd name="connsiteY26" fmla="*/ 1241019 h 1804628"/>
                    <a:gd name="connsiteX27" fmla="*/ 1240659 w 1804628"/>
                    <a:gd name="connsiteY27" fmla="*/ 1804628 h 1804628"/>
                    <a:gd name="connsiteX28" fmla="*/ 563968 w 1804628"/>
                    <a:gd name="connsiteY28" fmla="*/ 1804628 h 1804628"/>
                    <a:gd name="connsiteX29" fmla="*/ 0 w 1804628"/>
                    <a:gd name="connsiteY29" fmla="*/ 1241019 h 1804628"/>
                    <a:gd name="connsiteX30" fmla="*/ 0 w 1804628"/>
                    <a:gd name="connsiteY30" fmla="*/ 563969 h 1804628"/>
                    <a:gd name="connsiteX31" fmla="*/ 563968 w 1804628"/>
                    <a:gd name="connsiteY31" fmla="*/ 0 h 18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804628" h="1804628">
                      <a:moveTo>
                        <a:pt x="902928" y="620127"/>
                      </a:moveTo>
                      <a:cubicBezTo>
                        <a:pt x="747847" y="620127"/>
                        <a:pt x="621192" y="746544"/>
                        <a:pt x="621192" y="902494"/>
                      </a:cubicBezTo>
                      <a:cubicBezTo>
                        <a:pt x="621192" y="1057724"/>
                        <a:pt x="747847" y="1184502"/>
                        <a:pt x="902928" y="1184502"/>
                      </a:cubicBezTo>
                      <a:cubicBezTo>
                        <a:pt x="1058369" y="1184502"/>
                        <a:pt x="1185024" y="1057724"/>
                        <a:pt x="1185024" y="902494"/>
                      </a:cubicBezTo>
                      <a:cubicBezTo>
                        <a:pt x="1185024" y="746544"/>
                        <a:pt x="1058369" y="620127"/>
                        <a:pt x="902928" y="620127"/>
                      </a:cubicBezTo>
                      <a:close/>
                      <a:moveTo>
                        <a:pt x="902928" y="450850"/>
                      </a:moveTo>
                      <a:cubicBezTo>
                        <a:pt x="1152281" y="450850"/>
                        <a:pt x="1353778" y="653262"/>
                        <a:pt x="1353778" y="902494"/>
                      </a:cubicBezTo>
                      <a:cubicBezTo>
                        <a:pt x="1353778" y="1151367"/>
                        <a:pt x="1152281" y="1353778"/>
                        <a:pt x="902928" y="1353778"/>
                      </a:cubicBezTo>
                      <a:cubicBezTo>
                        <a:pt x="653935" y="1353778"/>
                        <a:pt x="452438" y="1151367"/>
                        <a:pt x="452438" y="902494"/>
                      </a:cubicBezTo>
                      <a:cubicBezTo>
                        <a:pt x="452438" y="653262"/>
                        <a:pt x="653935" y="450850"/>
                        <a:pt x="902928" y="450850"/>
                      </a:cubicBezTo>
                      <a:close/>
                      <a:moveTo>
                        <a:pt x="1387295" y="357188"/>
                      </a:moveTo>
                      <a:cubicBezTo>
                        <a:pt x="1420789" y="357188"/>
                        <a:pt x="1447440" y="383839"/>
                        <a:pt x="1447440" y="416973"/>
                      </a:cubicBezTo>
                      <a:cubicBezTo>
                        <a:pt x="1447440" y="450467"/>
                        <a:pt x="1420789" y="477478"/>
                        <a:pt x="1387295" y="477478"/>
                      </a:cubicBezTo>
                      <a:cubicBezTo>
                        <a:pt x="1354161" y="477478"/>
                        <a:pt x="1327150" y="450467"/>
                        <a:pt x="1327150" y="416973"/>
                      </a:cubicBezTo>
                      <a:cubicBezTo>
                        <a:pt x="1327150" y="383839"/>
                        <a:pt x="1354161" y="357188"/>
                        <a:pt x="1387295" y="357188"/>
                      </a:cubicBezTo>
                      <a:close/>
                      <a:moveTo>
                        <a:pt x="563968" y="169262"/>
                      </a:moveTo>
                      <a:cubicBezTo>
                        <a:pt x="346088" y="169262"/>
                        <a:pt x="168902" y="346088"/>
                        <a:pt x="168902" y="563969"/>
                      </a:cubicBezTo>
                      <a:lnTo>
                        <a:pt x="168902" y="1241019"/>
                      </a:lnTo>
                      <a:cubicBezTo>
                        <a:pt x="168902" y="1458540"/>
                        <a:pt x="346088" y="1635365"/>
                        <a:pt x="563968" y="1635365"/>
                      </a:cubicBezTo>
                      <a:lnTo>
                        <a:pt x="1240659" y="1635365"/>
                      </a:lnTo>
                      <a:cubicBezTo>
                        <a:pt x="1458540" y="1635365"/>
                        <a:pt x="1635365" y="1458540"/>
                        <a:pt x="1635365" y="1241019"/>
                      </a:cubicBezTo>
                      <a:lnTo>
                        <a:pt x="1635365" y="563969"/>
                      </a:lnTo>
                      <a:cubicBezTo>
                        <a:pt x="1635365" y="346088"/>
                        <a:pt x="1458540" y="169262"/>
                        <a:pt x="1240659" y="169262"/>
                      </a:cubicBezTo>
                      <a:close/>
                      <a:moveTo>
                        <a:pt x="563968" y="0"/>
                      </a:moveTo>
                      <a:lnTo>
                        <a:pt x="1240659" y="0"/>
                      </a:lnTo>
                      <a:cubicBezTo>
                        <a:pt x="1552175" y="0"/>
                        <a:pt x="1804628" y="252453"/>
                        <a:pt x="1804628" y="563969"/>
                      </a:cubicBezTo>
                      <a:lnTo>
                        <a:pt x="1804628" y="1241019"/>
                      </a:lnTo>
                      <a:cubicBezTo>
                        <a:pt x="1804628" y="1552175"/>
                        <a:pt x="1552175" y="1804628"/>
                        <a:pt x="1240659" y="1804628"/>
                      </a:cubicBezTo>
                      <a:lnTo>
                        <a:pt x="563968" y="1804628"/>
                      </a:lnTo>
                      <a:cubicBezTo>
                        <a:pt x="252453" y="1804628"/>
                        <a:pt x="0" y="1552175"/>
                        <a:pt x="0" y="1241019"/>
                      </a:cubicBezTo>
                      <a:lnTo>
                        <a:pt x="0" y="563969"/>
                      </a:lnTo>
                      <a:cubicBezTo>
                        <a:pt x="0" y="252453"/>
                        <a:pt x="252453" y="0"/>
                        <a:pt x="5639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8486680" y="566409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8374925" y="6676812"/>
                <a:ext cx="6836108" cy="1184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HK" sz="3250" dirty="0">
                    <a:solidFill>
                      <a:schemeClr val="accent3"/>
                    </a:solidFill>
                  </a:rPr>
                  <a:t>www.hkstp.org</a:t>
                </a:r>
                <a:endParaRPr lang="en-US" sz="325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2" name="Picture 10" descr="White linkedin icon - Free white site logo icons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2617" y="9509725"/>
              <a:ext cx="889696" cy="88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4185" y="817513"/>
            <a:ext cx="4800632" cy="1936295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154758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795" y="102569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024567" y="1025692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0700" y="378713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6795" y="3799503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5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6" y="145322"/>
            <a:ext cx="1121606" cy="46783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541879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7918F-ACD5-4028-93AB-9F8D79E20DA9}" type="datetime1">
              <a:rPr lang="en-US" smtClean="0"/>
              <a:t>4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F2FE7-8CE3-4984-AA46-E2B35FBCC2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472546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1434927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342768"/>
            <a:ext cx="10515600" cy="4834195"/>
          </a:xfrm>
        </p:spPr>
        <p:txBody>
          <a:bodyPr/>
          <a:lstStyle>
            <a:lvl1pPr marL="355600" indent="-355600">
              <a:buFont typeface="Wingdings" pitchFamily="2" charset="2"/>
              <a:buChar char="§"/>
              <a:tabLst/>
              <a:defRPr/>
            </a:lvl1pPr>
            <a:lvl2pPr marL="685800" indent="-330200">
              <a:buFont typeface="Wingdings" pitchFamily="2" charset="2"/>
              <a:buChar char="§"/>
              <a:tabLst/>
              <a:defRPr/>
            </a:lvl2pPr>
            <a:lvl3pPr marL="1143000" indent="-228600">
              <a:buFont typeface="Wingdings" pitchFamily="2" charset="2"/>
              <a:buChar char="§"/>
              <a:defRPr/>
            </a:lvl3pPr>
            <a:lvl4pPr marL="1600200" indent="-228600">
              <a:buFont typeface="Wingdings" pitchFamily="2" charset="2"/>
              <a:buChar char="§"/>
              <a:defRPr/>
            </a:lvl4pPr>
            <a:lvl5pPr marL="2057400" indent="-228600"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17BA7B0-B441-4B93-B5FA-74BB69873865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510746" cy="1128584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 userDrawn="1"/>
        </p:nvSpPr>
        <p:spPr>
          <a:xfrm>
            <a:off x="502508" y="0"/>
            <a:ext cx="11689492" cy="1128584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90616"/>
            <a:ext cx="10515600" cy="955590"/>
          </a:xfrm>
        </p:spPr>
        <p:txBody>
          <a:bodyPr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865868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964" y="-1"/>
            <a:ext cx="11916684" cy="6853647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944875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accent3">
              <a:alpha val="4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409655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75879" y="4815841"/>
            <a:ext cx="8483195" cy="406186"/>
          </a:xfrm>
        </p:spPr>
        <p:txBody>
          <a:bodyPr>
            <a:noAutofit/>
          </a:bodyPr>
          <a:lstStyle>
            <a:lvl1pPr marL="0" marR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marL="0" marR="0" lvl="0" indent="0" algn="l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dirty="0"/>
              <a:t>Date (i.e. 202010.30)</a:t>
            </a:r>
          </a:p>
          <a:p>
            <a:pPr lvl="0"/>
            <a:endParaRPr lang="en-US" dirty="0"/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75879" y="5210856"/>
            <a:ext cx="8483195" cy="406186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25634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6593" y="0"/>
            <a:ext cx="11907554" cy="6862354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11662" y="6657087"/>
            <a:ext cx="864074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546990" y="2895600"/>
            <a:ext cx="859939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endParaRPr lang="en-HK" sz="1800" dirty="0">
              <a:solidFill>
                <a:schemeClr val="bg1"/>
              </a:solidFill>
            </a:endParaRPr>
          </a:p>
          <a:p>
            <a:pPr algn="l"/>
            <a:endParaRPr lang="en-US" sz="28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0413" y="114987"/>
            <a:ext cx="2314570" cy="1259956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276593" y="2312377"/>
            <a:ext cx="9140185" cy="3798277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663187" y="2815426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3000" b="1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itle (i.e. Marketing Plan)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663187" y="3311381"/>
            <a:ext cx="8483195" cy="457200"/>
          </a:xfrm>
        </p:spPr>
        <p:txBody>
          <a:bodyPr>
            <a:noAutofit/>
          </a:bodyPr>
          <a:lstStyle>
            <a:lvl1pPr marL="0" indent="0">
              <a:buNone/>
              <a:defRPr sz="24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(i.e. For Internal Discussion Only)  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663187" y="4363487"/>
            <a:ext cx="8483195" cy="1221515"/>
          </a:xfrm>
        </p:spPr>
        <p:txBody>
          <a:bodyPr>
            <a:noAutofit/>
          </a:bodyPr>
          <a:lstStyle>
            <a:lvl1pPr marL="0" indent="0">
              <a:buNone/>
              <a:defRPr sz="1800" b="0" baseline="0">
                <a:solidFill>
                  <a:schemeClr val="bg1"/>
                </a:solidFill>
              </a:defRPr>
            </a:lvl1pPr>
            <a:lvl2pPr marL="457109" indent="0">
              <a:buNone/>
              <a:defRPr sz="3000" b="1">
                <a:solidFill>
                  <a:schemeClr val="bg1"/>
                </a:solidFill>
              </a:defRPr>
            </a:lvl2pPr>
            <a:lvl3pPr marL="914217" indent="0">
              <a:buNone/>
              <a:defRPr sz="3000" b="1">
                <a:solidFill>
                  <a:schemeClr val="bg1"/>
                </a:solidFill>
              </a:defRPr>
            </a:lvl3pPr>
            <a:lvl4pPr marL="1371326" indent="0">
              <a:buNone/>
              <a:defRPr sz="3000" b="1">
                <a:solidFill>
                  <a:schemeClr val="bg1"/>
                </a:solidFill>
              </a:defRPr>
            </a:lvl4pPr>
            <a:lvl5pPr marL="1828434" indent="0"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y Team/Author (i.e. By Marketing/John Chan)</a:t>
            </a:r>
          </a:p>
          <a:p>
            <a:pPr lvl="0"/>
            <a:r>
              <a:rPr lang="en-HK" dirty="0"/>
              <a:t>Date (i.e. 202010.30)</a:t>
            </a:r>
          </a:p>
          <a:p>
            <a:pPr lvl="0"/>
            <a:r>
              <a:rPr lang="en-HK" dirty="0"/>
              <a:t>Version X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60958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" name="Straight Connector 2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>
            <a:extLst>
              <a:ext uri="{FF2B5EF4-FFF2-40B4-BE49-F238E27FC236}">
                <a16:creationId xmlns:a16="http://schemas.microsoft.com/office/drawing/2014/main" id="{1FC1CD19-B242-4241-9E8D-E52D4F20B202}"/>
              </a:ext>
            </a:extLst>
          </p:cNvPr>
          <p:cNvSpPr txBox="1"/>
          <p:nvPr userDrawn="1"/>
        </p:nvSpPr>
        <p:spPr>
          <a:xfrm>
            <a:off x="5566853" y="289567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1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619466F-ACB2-8D49-B05A-4B51B5024F7C}"/>
              </a:ext>
            </a:extLst>
          </p:cNvPr>
          <p:cNvSpPr txBox="1"/>
          <p:nvPr userDrawn="1"/>
        </p:nvSpPr>
        <p:spPr>
          <a:xfrm>
            <a:off x="5632575" y="589648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1"/>
                </a:solidFill>
                <a:ea typeface="League Spartan" charset="0"/>
                <a:cs typeface="Poppins" pitchFamily="2" charset="77"/>
              </a:rPr>
              <a:t>01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D06593-BEE5-1C4A-8717-41A96FDA4158}"/>
              </a:ext>
            </a:extLst>
          </p:cNvPr>
          <p:cNvSpPr txBox="1"/>
          <p:nvPr userDrawn="1"/>
        </p:nvSpPr>
        <p:spPr>
          <a:xfrm>
            <a:off x="5566853" y="1536568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2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D2C15D2-5286-2B4F-9F7D-1FFCAAD39622}"/>
              </a:ext>
            </a:extLst>
          </p:cNvPr>
          <p:cNvSpPr txBox="1"/>
          <p:nvPr userDrawn="1"/>
        </p:nvSpPr>
        <p:spPr>
          <a:xfrm>
            <a:off x="5632575" y="1836650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2"/>
                </a:solidFill>
                <a:ea typeface="League Spartan" charset="0"/>
                <a:cs typeface="Poppins" pitchFamily="2" charset="77"/>
              </a:rPr>
              <a:t>02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81B8393-7BC2-1140-8D4D-2250550A3F2A}"/>
              </a:ext>
            </a:extLst>
          </p:cNvPr>
          <p:cNvSpPr txBox="1"/>
          <p:nvPr userDrawn="1"/>
        </p:nvSpPr>
        <p:spPr>
          <a:xfrm>
            <a:off x="5566853" y="2783569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3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3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3C6AF-7D12-FF42-81D1-CD4583B2A58E}"/>
              </a:ext>
            </a:extLst>
          </p:cNvPr>
          <p:cNvSpPr txBox="1"/>
          <p:nvPr userDrawn="1"/>
        </p:nvSpPr>
        <p:spPr>
          <a:xfrm>
            <a:off x="5632575" y="3083651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3"/>
                </a:solidFill>
                <a:ea typeface="League Spartan" charset="0"/>
                <a:cs typeface="Poppins" pitchFamily="2" charset="77"/>
              </a:rPr>
              <a:t>03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42293BD-E57D-334A-9CA0-D8B758CB8403}"/>
              </a:ext>
            </a:extLst>
          </p:cNvPr>
          <p:cNvSpPr txBox="1"/>
          <p:nvPr userDrawn="1"/>
        </p:nvSpPr>
        <p:spPr>
          <a:xfrm>
            <a:off x="5566853" y="4030570"/>
            <a:ext cx="676788" cy="1154162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6900" b="1" dirty="0">
                <a:solidFill>
                  <a:schemeClr val="accent4">
                    <a:alpha val="25000"/>
                  </a:schemeClr>
                </a:solidFill>
                <a:ea typeface="League Spartan" charset="0"/>
                <a:cs typeface="Poppins" pitchFamily="2" charset="77"/>
              </a:rPr>
              <a:t>4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E3177D-A949-6E4A-8254-F8506A387C71}"/>
              </a:ext>
            </a:extLst>
          </p:cNvPr>
          <p:cNvSpPr txBox="1"/>
          <p:nvPr userDrawn="1"/>
        </p:nvSpPr>
        <p:spPr>
          <a:xfrm>
            <a:off x="5632575" y="4330652"/>
            <a:ext cx="611066" cy="553998"/>
          </a:xfrm>
          <a:prstGeom prst="rect">
            <a:avLst/>
          </a:prstGeom>
          <a:noFill/>
        </p:spPr>
        <p:txBody>
          <a:bodyPr wrap="none" rtlCol="0" anchor="ctr" anchorCtr="0">
            <a:spAutoFit/>
          </a:bodyPr>
          <a:lstStyle/>
          <a:p>
            <a:pPr algn="r"/>
            <a:r>
              <a:rPr lang="en-US" sz="3000" b="1" dirty="0">
                <a:solidFill>
                  <a:schemeClr val="accent4"/>
                </a:solidFill>
                <a:ea typeface="League Spartan" charset="0"/>
                <a:cs typeface="Poppins" pitchFamily="2" charset="77"/>
              </a:rPr>
              <a:t>04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24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26" name="Title 14"/>
          <p:cNvSpPr txBox="1">
            <a:spLocks/>
          </p:cNvSpPr>
          <p:nvPr userDrawn="1"/>
        </p:nvSpPr>
        <p:spPr>
          <a:xfrm>
            <a:off x="557659" y="5743070"/>
            <a:ext cx="4496051" cy="725117"/>
          </a:xfrm>
          <a:prstGeom prst="rect">
            <a:avLst/>
          </a:prstGeom>
        </p:spPr>
        <p:txBody>
          <a:bodyPr anchor="ctr"/>
          <a:lstStyle>
            <a:lvl1pPr algn="l" defTabSz="182843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6000" b="1" i="0" kern="1200">
                <a:solidFill>
                  <a:schemeClr val="bg1">
                    <a:lumMod val="50000"/>
                  </a:schemeClr>
                </a:solidFill>
                <a:latin typeface="+mn-lt"/>
                <a:ea typeface="Open Sans Light" panose="020B0306030504020204" pitchFamily="34" charset="0"/>
                <a:cs typeface="Poppins" pitchFamily="2" charset="77"/>
              </a:defRPr>
            </a:lvl1pPr>
          </a:lstStyle>
          <a:p>
            <a:pPr algn="ctr"/>
            <a:r>
              <a:rPr lang="en-HK" sz="3000" cap="all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5797930" y="6562538"/>
            <a:ext cx="61074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r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0" hasCustomPrompt="1"/>
          </p:nvPr>
        </p:nvSpPr>
        <p:spPr>
          <a:xfrm>
            <a:off x="6796299" y="52484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1]</a:t>
            </a:r>
            <a:endParaRPr lang="en-US" dirty="0"/>
          </a:p>
        </p:txBody>
      </p:sp>
      <p:sp>
        <p:nvSpPr>
          <p:cNvPr id="32" name="Text Placeholder 31"/>
          <p:cNvSpPr>
            <a:spLocks noGrp="1"/>
          </p:cNvSpPr>
          <p:nvPr>
            <p:ph type="body" sz="quarter" idx="11" hasCustomPrompt="1"/>
          </p:nvPr>
        </p:nvSpPr>
        <p:spPr>
          <a:xfrm>
            <a:off x="6796600" y="86668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3" name="Text Placeholder 29"/>
          <p:cNvSpPr>
            <a:spLocks noGrp="1"/>
          </p:cNvSpPr>
          <p:nvPr>
            <p:ph type="body" sz="quarter" idx="12" hasCustomPrompt="1"/>
          </p:nvPr>
        </p:nvSpPr>
        <p:spPr>
          <a:xfrm>
            <a:off x="6795998" y="17718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2]</a:t>
            </a:r>
            <a:endParaRPr lang="en-US" dirty="0"/>
          </a:p>
        </p:txBody>
      </p:sp>
      <p:sp>
        <p:nvSpPr>
          <p:cNvPr id="34" name="Text Placeholder 31"/>
          <p:cNvSpPr>
            <a:spLocks noGrp="1"/>
          </p:cNvSpPr>
          <p:nvPr>
            <p:ph type="body" sz="quarter" idx="13" hasCustomPrompt="1"/>
          </p:nvPr>
        </p:nvSpPr>
        <p:spPr>
          <a:xfrm>
            <a:off x="6796299" y="21137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5" name="Text Placeholder 29"/>
          <p:cNvSpPr>
            <a:spLocks noGrp="1"/>
          </p:cNvSpPr>
          <p:nvPr>
            <p:ph type="body" sz="quarter" idx="14" hasCustomPrompt="1"/>
          </p:nvPr>
        </p:nvSpPr>
        <p:spPr>
          <a:xfrm>
            <a:off x="6795697" y="3029768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3]</a:t>
            </a:r>
            <a:endParaRPr lang="en-US" dirty="0"/>
          </a:p>
        </p:txBody>
      </p:sp>
      <p:sp>
        <p:nvSpPr>
          <p:cNvPr id="36" name="Text Placeholder 31"/>
          <p:cNvSpPr>
            <a:spLocks noGrp="1"/>
          </p:cNvSpPr>
          <p:nvPr>
            <p:ph type="body" sz="quarter" idx="15" hasCustomPrompt="1"/>
          </p:nvPr>
        </p:nvSpPr>
        <p:spPr>
          <a:xfrm>
            <a:off x="6795998" y="3371608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sp>
        <p:nvSpPr>
          <p:cNvPr id="37" name="Text Placeholder 29"/>
          <p:cNvSpPr>
            <a:spLocks noGrp="1"/>
          </p:cNvSpPr>
          <p:nvPr>
            <p:ph type="body" sz="quarter" idx="16" hasCustomPrompt="1"/>
          </p:nvPr>
        </p:nvSpPr>
        <p:spPr>
          <a:xfrm>
            <a:off x="6795396" y="4299183"/>
            <a:ext cx="2955807" cy="292894"/>
          </a:xfrm>
        </p:spPr>
        <p:txBody>
          <a:bodyPr>
            <a:noAutofit/>
          </a:bodyPr>
          <a:lstStyle>
            <a:lvl1pPr marL="0" indent="0">
              <a:buNone/>
              <a:defRPr sz="1600" b="1" cap="all" baseline="0"/>
            </a:lvl1pPr>
          </a:lstStyle>
          <a:p>
            <a:pPr lvl="0"/>
            <a:r>
              <a:rPr lang="en-HK" dirty="0"/>
              <a:t>[INSERT AGENDA ITEM 4]</a:t>
            </a:r>
            <a:endParaRPr lang="en-US" dirty="0"/>
          </a:p>
        </p:txBody>
      </p:sp>
      <p:sp>
        <p:nvSpPr>
          <p:cNvPr id="38" name="Text Placeholder 31"/>
          <p:cNvSpPr>
            <a:spLocks noGrp="1"/>
          </p:cNvSpPr>
          <p:nvPr>
            <p:ph type="body" sz="quarter" idx="17" hasCustomPrompt="1"/>
          </p:nvPr>
        </p:nvSpPr>
        <p:spPr>
          <a:xfrm>
            <a:off x="6795697" y="4641023"/>
            <a:ext cx="4111902" cy="692944"/>
          </a:xfrm>
        </p:spPr>
        <p:txBody>
          <a:bodyPr>
            <a:normAutofit/>
          </a:bodyPr>
          <a:lstStyle>
            <a:lvl1pPr marL="0" indent="0">
              <a:buNone/>
              <a:defRPr lang="en-US" sz="1200" kern="1200" dirty="0">
                <a:solidFill>
                  <a:schemeClr val="tx1">
                    <a:lumMod val="75000"/>
                  </a:schemeClr>
                </a:solidFill>
                <a:latin typeface="+mn-lt"/>
                <a:ea typeface="Lato Light" panose="020F0502020204030203" pitchFamily="34" charset="0"/>
                <a:cs typeface="Mukta ExtraLight" panose="020B0000000000000000" pitchFamily="34" charset="77"/>
              </a:defRPr>
            </a:lvl1pPr>
          </a:lstStyle>
          <a:p>
            <a:pPr lvl="0"/>
            <a:r>
              <a:rPr lang="en-HK" dirty="0"/>
              <a:t>[Insert your text here]</a:t>
            </a:r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-931"/>
            <a:ext cx="4902926" cy="68580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208599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17498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A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"/>
          <a:stretch/>
        </p:blipFill>
        <p:spPr>
          <a:xfrm>
            <a:off x="6460435" y="0"/>
            <a:ext cx="5728605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2262905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8594" r="17909"/>
          <a:stretch/>
        </p:blipFill>
        <p:spPr>
          <a:xfrm>
            <a:off x="5660571" y="0"/>
            <a:ext cx="6531429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78830" y="6562538"/>
            <a:ext cx="8873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8820036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C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95031" y="0"/>
            <a:ext cx="5796969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278829" y="6562538"/>
            <a:ext cx="898709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94620529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91504" y="0"/>
            <a:ext cx="6200504" cy="6858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278829" y="6562538"/>
            <a:ext cx="97447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633514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email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07" t="29841" r="16594" b="30159"/>
          <a:stretch/>
        </p:blipFill>
        <p:spPr>
          <a:xfrm>
            <a:off x="10908566" y="158609"/>
            <a:ext cx="1121606" cy="467834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436430950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Connector 7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0" hasCustomPrompt="1"/>
          </p:nvPr>
        </p:nvSpPr>
        <p:spPr>
          <a:xfrm>
            <a:off x="6306399" y="0"/>
            <a:ext cx="5885601" cy="6858000"/>
          </a:xfr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278829" y="6562538"/>
            <a:ext cx="94747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548099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defaul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2720" y="2628900"/>
            <a:ext cx="4729757" cy="1924050"/>
          </a:xfrm>
        </p:spPr>
        <p:txBody>
          <a:bodyPr/>
          <a:lstStyle>
            <a:lvl1pPr>
              <a:defRPr cap="all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Chapter Slide Title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5711242" y="0"/>
            <a:ext cx="3339865" cy="6866959"/>
          </a:xfrm>
          <a:prstGeom prst="rect">
            <a:avLst/>
          </a:prstGeom>
          <a:solidFill>
            <a:schemeClr val="accent3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7" name="Picture Placeholder 9"/>
          <p:cNvSpPr>
            <a:spLocks noGrp="1"/>
          </p:cNvSpPr>
          <p:nvPr>
            <p:ph type="pic" sz="quarter" idx="11" hasCustomPrompt="1"/>
          </p:nvPr>
        </p:nvSpPr>
        <p:spPr>
          <a:xfrm>
            <a:off x="6569146" y="1427162"/>
            <a:ext cx="4995576" cy="4327525"/>
          </a:xfrm>
          <a:solidFill>
            <a:schemeClr val="bg1">
              <a:lumMod val="95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>
            <a:lvl1pPr marL="0" indent="0" algn="ctr">
              <a:buNone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595219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278829" y="6562538"/>
            <a:ext cx="1162653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</a:t>
            </a:r>
          </a:p>
          <a:p>
            <a:pPr algn="l"/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315692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14489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>
                <a:latin typeface="Century Gothic" panose="020B0502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10086" y="1019969"/>
            <a:ext cx="11520086" cy="5451475"/>
          </a:xfrm>
        </p:spPr>
        <p:txBody>
          <a:bodyPr/>
          <a:lstStyle>
            <a:lvl1pPr marL="228555" indent="-228555">
              <a:buFontTx/>
              <a:buBlip>
                <a:blip r:embed="rId2"/>
              </a:buBlip>
              <a:defRPr>
                <a:latin typeface="Century Gothic" panose="020B0502020202020204" pitchFamily="34" charset="0"/>
              </a:defRPr>
            </a:lvl1pPr>
            <a:lvl2pPr marL="685663" indent="-228555">
              <a:buFontTx/>
              <a:buBlip>
                <a:blip r:embed="rId2"/>
              </a:buBlip>
              <a:defRPr>
                <a:latin typeface="Century Gothic" panose="020B0502020202020204" pitchFamily="34" charset="0"/>
              </a:defRPr>
            </a:lvl2pPr>
            <a:lvl3pPr marL="1142772" indent="-228555">
              <a:buFontTx/>
              <a:buBlip>
                <a:blip r:embed="rId2"/>
              </a:buBlip>
              <a:defRPr>
                <a:latin typeface="Century Gothic" panose="020B0502020202020204" pitchFamily="34" charset="0"/>
              </a:defRPr>
            </a:lvl3pPr>
            <a:lvl4pPr marL="1599880" indent="-228555">
              <a:buFontTx/>
              <a:buBlip>
                <a:blip r:embed="rId2"/>
              </a:buBlip>
              <a:defRPr>
                <a:latin typeface="Century Gothic" panose="020B0502020202020204" pitchFamily="34" charset="0"/>
              </a:defRPr>
            </a:lvl4pPr>
            <a:lvl5pPr marL="2056989" indent="-228555">
              <a:buFontTx/>
              <a:buBlip>
                <a:blip r:embed="rId2"/>
              </a:buBlip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36232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7391" y="1262541"/>
            <a:ext cx="4985675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2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348833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969772" y="1262541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7036" y="1262540"/>
            <a:ext cx="6196039" cy="4975541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589829" y="1262670"/>
            <a:ext cx="2440343" cy="49754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585968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image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76795" y="102569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11662" y="145322"/>
            <a:ext cx="10523283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>
            <a:lvl1pPr algn="ctr">
              <a:defRPr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024567" y="1025692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600700" y="3787132"/>
            <a:ext cx="3343725" cy="2618559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76795" y="3799503"/>
            <a:ext cx="7919857" cy="2618559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600">
                <a:latin typeface="+mn-lt"/>
              </a:defRPr>
            </a:lvl2pPr>
            <a:lvl3pPr>
              <a:defRPr sz="1400">
                <a:latin typeface="+mn-lt"/>
              </a:defRPr>
            </a:lvl3pPr>
            <a:lvl4pPr>
              <a:defRPr sz="1000">
                <a:latin typeface="+mn-lt"/>
              </a:defRPr>
            </a:lvl4pPr>
            <a:lvl5pPr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cxnSp>
        <p:nvCxnSpPr>
          <p:cNvPr id="17" name="Straight Connector 16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7971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26501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108078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22220" cy="4333461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750970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3171" cy="427590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738711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clean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rgbClr val="6D7783"/>
                </a:solidFill>
              </a:defRPr>
            </a:lvl1pPr>
          </a:lstStyle>
          <a:p>
            <a:fld id="{60E42214-9804-481F-8BEF-BED7FC3A9430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8537261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v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78829" y="0"/>
            <a:ext cx="11911678" cy="436299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182203"/>
            <a:ext cx="10382024" cy="334554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09" t="19682" r="54221" b="58477"/>
          <a:stretch/>
        </p:blipFill>
        <p:spPr>
          <a:xfrm>
            <a:off x="10907599" y="95574"/>
            <a:ext cx="1180477" cy="57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501752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276297" y="0"/>
            <a:ext cx="11915703" cy="4314825"/>
          </a:xfrm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 dirty="0"/>
              <a:t>[insert your picture here]</a:t>
            </a:r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HK" dirty="0"/>
              <a:t>[Insert your statement / conclusion here]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5040689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1"/>
            <a:ext cx="12192000" cy="3540369"/>
          </a:xfrm>
          <a:prstGeom prst="rect">
            <a:avLst/>
          </a:prstGeom>
          <a:solidFill>
            <a:schemeClr val="bg2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 userDrawn="1"/>
        </p:nvGrpSpPr>
        <p:grpSpPr>
          <a:xfrm>
            <a:off x="4265343" y="3975043"/>
            <a:ext cx="3418944" cy="1376738"/>
            <a:chOff x="8528465" y="7950086"/>
            <a:chExt cx="6836108" cy="2753476"/>
          </a:xfrm>
        </p:grpSpPr>
        <p:grpSp>
          <p:nvGrpSpPr>
            <p:cNvPr id="11" name="Group 10"/>
            <p:cNvGrpSpPr/>
            <p:nvPr/>
          </p:nvGrpSpPr>
          <p:grpSpPr>
            <a:xfrm>
              <a:off x="8528465" y="7950086"/>
              <a:ext cx="6836108" cy="2753476"/>
              <a:chOff x="8374925" y="6676812"/>
              <a:chExt cx="6836108" cy="2753476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8374925" y="7950086"/>
                <a:ext cx="6836108" cy="1480202"/>
                <a:chOff x="13130764" y="5664086"/>
                <a:chExt cx="6836108" cy="1480202"/>
              </a:xfrm>
            </p:grpSpPr>
            <p:sp>
              <p:nvSpPr>
                <p:cNvPr id="15" name="Oval 14">
                  <a:extLst>
                    <a:ext uri="{FF2B5EF4-FFF2-40B4-BE49-F238E27FC236}">
                      <a16:creationId xmlns:a16="http://schemas.microsoft.com/office/drawing/2014/main" id="{64A36400-CC94-5944-9B6E-748029E0EF99}"/>
                    </a:ext>
                  </a:extLst>
                </p:cNvPr>
                <p:cNvSpPr/>
                <p:nvPr/>
              </p:nvSpPr>
              <p:spPr>
                <a:xfrm>
                  <a:off x="13130764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6" name="Freeform 1">
                  <a:extLst>
                    <a:ext uri="{FF2B5EF4-FFF2-40B4-BE49-F238E27FC236}">
                      <a16:creationId xmlns:a16="http://schemas.microsoft.com/office/drawing/2014/main" id="{0C0946D3-D99A-3F49-A310-2F87A03BF65D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3657458" y="5947177"/>
                  <a:ext cx="426805" cy="914008"/>
                </a:xfrm>
                <a:custGeom>
                  <a:avLst/>
                  <a:gdLst>
                    <a:gd name="T0" fmla="*/ 303 w 1401"/>
                    <a:gd name="T1" fmla="*/ 582 h 3001"/>
                    <a:gd name="T2" fmla="*/ 303 w 1401"/>
                    <a:gd name="T3" fmla="*/ 994 h 3001"/>
                    <a:gd name="T4" fmla="*/ 0 w 1401"/>
                    <a:gd name="T5" fmla="*/ 994 h 3001"/>
                    <a:gd name="T6" fmla="*/ 0 w 1401"/>
                    <a:gd name="T7" fmla="*/ 1499 h 3001"/>
                    <a:gd name="T8" fmla="*/ 303 w 1401"/>
                    <a:gd name="T9" fmla="*/ 1499 h 3001"/>
                    <a:gd name="T10" fmla="*/ 303 w 1401"/>
                    <a:gd name="T11" fmla="*/ 3000 h 3001"/>
                    <a:gd name="T12" fmla="*/ 924 w 1401"/>
                    <a:gd name="T13" fmla="*/ 3000 h 3001"/>
                    <a:gd name="T14" fmla="*/ 924 w 1401"/>
                    <a:gd name="T15" fmla="*/ 1500 h 3001"/>
                    <a:gd name="T16" fmla="*/ 1341 w 1401"/>
                    <a:gd name="T17" fmla="*/ 1500 h 3001"/>
                    <a:gd name="T18" fmla="*/ 1341 w 1401"/>
                    <a:gd name="T19" fmla="*/ 1500 h 3001"/>
                    <a:gd name="T20" fmla="*/ 1399 w 1401"/>
                    <a:gd name="T21" fmla="*/ 993 h 3001"/>
                    <a:gd name="T22" fmla="*/ 926 w 1401"/>
                    <a:gd name="T23" fmla="*/ 993 h 3001"/>
                    <a:gd name="T24" fmla="*/ 926 w 1401"/>
                    <a:gd name="T25" fmla="*/ 647 h 3001"/>
                    <a:gd name="T26" fmla="*/ 926 w 1401"/>
                    <a:gd name="T27" fmla="*/ 647 h 3001"/>
                    <a:gd name="T28" fmla="*/ 1061 w 1401"/>
                    <a:gd name="T29" fmla="*/ 526 h 3001"/>
                    <a:gd name="T30" fmla="*/ 1400 w 1401"/>
                    <a:gd name="T31" fmla="*/ 526 h 3001"/>
                    <a:gd name="T32" fmla="*/ 1400 w 1401"/>
                    <a:gd name="T33" fmla="*/ 0 h 3001"/>
                    <a:gd name="T34" fmla="*/ 939 w 1401"/>
                    <a:gd name="T35" fmla="*/ 0 h 3001"/>
                    <a:gd name="T36" fmla="*/ 939 w 1401"/>
                    <a:gd name="T37" fmla="*/ 0 h 3001"/>
                    <a:gd name="T38" fmla="*/ 303 w 1401"/>
                    <a:gd name="T39" fmla="*/ 582 h 3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01" h="3001">
                      <a:moveTo>
                        <a:pt x="303" y="582"/>
                      </a:moveTo>
                      <a:lnTo>
                        <a:pt x="303" y="994"/>
                      </a:lnTo>
                      <a:lnTo>
                        <a:pt x="0" y="994"/>
                      </a:lnTo>
                      <a:lnTo>
                        <a:pt x="0" y="1499"/>
                      </a:lnTo>
                      <a:lnTo>
                        <a:pt x="303" y="1499"/>
                      </a:lnTo>
                      <a:lnTo>
                        <a:pt x="303" y="3000"/>
                      </a:lnTo>
                      <a:lnTo>
                        <a:pt x="924" y="3000"/>
                      </a:lnTo>
                      <a:lnTo>
                        <a:pt x="924" y="1500"/>
                      </a:lnTo>
                      <a:lnTo>
                        <a:pt x="1341" y="1500"/>
                      </a:lnTo>
                      <a:lnTo>
                        <a:pt x="1341" y="1500"/>
                      </a:lnTo>
                      <a:cubicBezTo>
                        <a:pt x="1341" y="1500"/>
                        <a:pt x="1380" y="1257"/>
                        <a:pt x="1399" y="993"/>
                      </a:cubicBezTo>
                      <a:lnTo>
                        <a:pt x="926" y="993"/>
                      </a:lnTo>
                      <a:lnTo>
                        <a:pt x="926" y="647"/>
                      </a:lnTo>
                      <a:lnTo>
                        <a:pt x="926" y="647"/>
                      </a:lnTo>
                      <a:cubicBezTo>
                        <a:pt x="926" y="596"/>
                        <a:pt x="994" y="526"/>
                        <a:pt x="1061" y="526"/>
                      </a:cubicBezTo>
                      <a:lnTo>
                        <a:pt x="1400" y="526"/>
                      </a:lnTo>
                      <a:lnTo>
                        <a:pt x="1400" y="0"/>
                      </a:lnTo>
                      <a:lnTo>
                        <a:pt x="939" y="0"/>
                      </a:lnTo>
                      <a:lnTo>
                        <a:pt x="939" y="0"/>
                      </a:lnTo>
                      <a:cubicBezTo>
                        <a:pt x="287" y="0"/>
                        <a:pt x="303" y="506"/>
                        <a:pt x="303" y="582"/>
                      </a:cubicBezTo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7" name="Oval 16">
                  <a:extLst>
                    <a:ext uri="{FF2B5EF4-FFF2-40B4-BE49-F238E27FC236}">
                      <a16:creationId xmlns:a16="http://schemas.microsoft.com/office/drawing/2014/main" id="{06FAB05E-CE5A-A845-87CD-424BC03CA7F7}"/>
                    </a:ext>
                  </a:extLst>
                </p:cNvPr>
                <p:cNvSpPr/>
                <p:nvPr/>
              </p:nvSpPr>
              <p:spPr>
                <a:xfrm>
                  <a:off x="14916561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8" name="Freeform 3">
                  <a:extLst>
                    <a:ext uri="{FF2B5EF4-FFF2-40B4-BE49-F238E27FC236}">
                      <a16:creationId xmlns:a16="http://schemas.microsoft.com/office/drawing/2014/main" id="{45723339-63E7-7E4F-A0F7-4B02C15A4C86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5211033" y="6103223"/>
                  <a:ext cx="894037" cy="614110"/>
                </a:xfrm>
                <a:custGeom>
                  <a:avLst/>
                  <a:gdLst>
                    <a:gd name="T0" fmla="*/ 1880 w 5013"/>
                    <a:gd name="T1" fmla="*/ 2663 h 3446"/>
                    <a:gd name="T2" fmla="*/ 1880 w 5013"/>
                    <a:gd name="T3" fmla="*/ 783 h 3446"/>
                    <a:gd name="T4" fmla="*/ 3446 w 5013"/>
                    <a:gd name="T5" fmla="*/ 1723 h 3446"/>
                    <a:gd name="T6" fmla="*/ 1880 w 5013"/>
                    <a:gd name="T7" fmla="*/ 2663 h 3446"/>
                    <a:gd name="T8" fmla="*/ 4799 w 5013"/>
                    <a:gd name="T9" fmla="*/ 332 h 3446"/>
                    <a:gd name="T10" fmla="*/ 4799 w 5013"/>
                    <a:gd name="T11" fmla="*/ 332 h 3446"/>
                    <a:gd name="T12" fmla="*/ 4215 w 5013"/>
                    <a:gd name="T13" fmla="*/ 28 h 3446"/>
                    <a:gd name="T14" fmla="*/ 4215 w 5013"/>
                    <a:gd name="T15" fmla="*/ 28 h 3446"/>
                    <a:gd name="T16" fmla="*/ 2507 w 5013"/>
                    <a:gd name="T17" fmla="*/ 0 h 3446"/>
                    <a:gd name="T18" fmla="*/ 2507 w 5013"/>
                    <a:gd name="T19" fmla="*/ 0 h 3446"/>
                    <a:gd name="T20" fmla="*/ 797 w 5013"/>
                    <a:gd name="T21" fmla="*/ 28 h 3446"/>
                    <a:gd name="T22" fmla="*/ 797 w 5013"/>
                    <a:gd name="T23" fmla="*/ 28 h 3446"/>
                    <a:gd name="T24" fmla="*/ 212 w 5013"/>
                    <a:gd name="T25" fmla="*/ 332 h 3446"/>
                    <a:gd name="T26" fmla="*/ 212 w 5013"/>
                    <a:gd name="T27" fmla="*/ 332 h 3446"/>
                    <a:gd name="T28" fmla="*/ 0 w 5013"/>
                    <a:gd name="T29" fmla="*/ 1722 h 3446"/>
                    <a:gd name="T30" fmla="*/ 0 w 5013"/>
                    <a:gd name="T31" fmla="*/ 1723 h 3446"/>
                    <a:gd name="T32" fmla="*/ 0 w 5013"/>
                    <a:gd name="T33" fmla="*/ 1723 h 3446"/>
                    <a:gd name="T34" fmla="*/ 0 w 5013"/>
                    <a:gd name="T35" fmla="*/ 1724 h 3446"/>
                    <a:gd name="T36" fmla="*/ 0 w 5013"/>
                    <a:gd name="T37" fmla="*/ 1724 h 3446"/>
                    <a:gd name="T38" fmla="*/ 212 w 5013"/>
                    <a:gd name="T39" fmla="*/ 3111 h 3446"/>
                    <a:gd name="T40" fmla="*/ 212 w 5013"/>
                    <a:gd name="T41" fmla="*/ 3111 h 3446"/>
                    <a:gd name="T42" fmla="*/ 797 w 5013"/>
                    <a:gd name="T43" fmla="*/ 3418 h 3446"/>
                    <a:gd name="T44" fmla="*/ 797 w 5013"/>
                    <a:gd name="T45" fmla="*/ 3418 h 3446"/>
                    <a:gd name="T46" fmla="*/ 2507 w 5013"/>
                    <a:gd name="T47" fmla="*/ 3445 h 3446"/>
                    <a:gd name="T48" fmla="*/ 2507 w 5013"/>
                    <a:gd name="T49" fmla="*/ 3445 h 3446"/>
                    <a:gd name="T50" fmla="*/ 4215 w 5013"/>
                    <a:gd name="T51" fmla="*/ 3418 h 3446"/>
                    <a:gd name="T52" fmla="*/ 4215 w 5013"/>
                    <a:gd name="T53" fmla="*/ 3418 h 3446"/>
                    <a:gd name="T54" fmla="*/ 4799 w 5013"/>
                    <a:gd name="T55" fmla="*/ 3112 h 3446"/>
                    <a:gd name="T56" fmla="*/ 4799 w 5013"/>
                    <a:gd name="T57" fmla="*/ 3112 h 3446"/>
                    <a:gd name="T58" fmla="*/ 5012 w 5013"/>
                    <a:gd name="T59" fmla="*/ 1725 h 3446"/>
                    <a:gd name="T60" fmla="*/ 5012 w 5013"/>
                    <a:gd name="T61" fmla="*/ 1723 h 3446"/>
                    <a:gd name="T62" fmla="*/ 5012 w 5013"/>
                    <a:gd name="T63" fmla="*/ 1722 h 3446"/>
                    <a:gd name="T64" fmla="*/ 5012 w 5013"/>
                    <a:gd name="T65" fmla="*/ 1722 h 3446"/>
                    <a:gd name="T66" fmla="*/ 4799 w 5013"/>
                    <a:gd name="T67" fmla="*/ 332 h 34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5013" h="3446">
                      <a:moveTo>
                        <a:pt x="1880" y="2663"/>
                      </a:moveTo>
                      <a:lnTo>
                        <a:pt x="1880" y="783"/>
                      </a:lnTo>
                      <a:lnTo>
                        <a:pt x="3446" y="1723"/>
                      </a:lnTo>
                      <a:lnTo>
                        <a:pt x="1880" y="2663"/>
                      </a:lnTo>
                      <a:close/>
                      <a:moveTo>
                        <a:pt x="4799" y="332"/>
                      </a:moveTo>
                      <a:lnTo>
                        <a:pt x="4799" y="332"/>
                      </a:lnTo>
                      <a:cubicBezTo>
                        <a:pt x="4663" y="90"/>
                        <a:pt x="4515" y="45"/>
                        <a:pt x="4215" y="28"/>
                      </a:cubicBezTo>
                      <a:lnTo>
                        <a:pt x="4215" y="28"/>
                      </a:lnTo>
                      <a:cubicBezTo>
                        <a:pt x="3915" y="8"/>
                        <a:pt x="3160" y="0"/>
                        <a:pt x="2507" y="0"/>
                      </a:cubicBezTo>
                      <a:lnTo>
                        <a:pt x="2507" y="0"/>
                      </a:lnTo>
                      <a:cubicBezTo>
                        <a:pt x="1852" y="0"/>
                        <a:pt x="1097" y="8"/>
                        <a:pt x="797" y="28"/>
                      </a:cubicBezTo>
                      <a:lnTo>
                        <a:pt x="797" y="28"/>
                      </a:lnTo>
                      <a:cubicBezTo>
                        <a:pt x="497" y="45"/>
                        <a:pt x="350" y="89"/>
                        <a:pt x="212" y="332"/>
                      </a:cubicBezTo>
                      <a:lnTo>
                        <a:pt x="212" y="332"/>
                      </a:lnTo>
                      <a:cubicBezTo>
                        <a:pt x="72" y="573"/>
                        <a:pt x="0" y="989"/>
                        <a:pt x="0" y="1722"/>
                      </a:cubicBezTo>
                      <a:lnTo>
                        <a:pt x="0" y="1723"/>
                      </a:lnTo>
                      <a:lnTo>
                        <a:pt x="0" y="1723"/>
                      </a:lnTo>
                      <a:lnTo>
                        <a:pt x="0" y="1724"/>
                      </a:lnTo>
                      <a:lnTo>
                        <a:pt x="0" y="1724"/>
                      </a:lnTo>
                      <a:cubicBezTo>
                        <a:pt x="0" y="2453"/>
                        <a:pt x="72" y="2873"/>
                        <a:pt x="212" y="3111"/>
                      </a:cubicBezTo>
                      <a:lnTo>
                        <a:pt x="212" y="3111"/>
                      </a:lnTo>
                      <a:cubicBezTo>
                        <a:pt x="350" y="3353"/>
                        <a:pt x="497" y="3397"/>
                        <a:pt x="797" y="3418"/>
                      </a:cubicBezTo>
                      <a:lnTo>
                        <a:pt x="797" y="3418"/>
                      </a:lnTo>
                      <a:cubicBezTo>
                        <a:pt x="1097" y="3435"/>
                        <a:pt x="1852" y="3445"/>
                        <a:pt x="2507" y="3445"/>
                      </a:cubicBezTo>
                      <a:lnTo>
                        <a:pt x="2507" y="3445"/>
                      </a:lnTo>
                      <a:cubicBezTo>
                        <a:pt x="3160" y="3445"/>
                        <a:pt x="3915" y="3435"/>
                        <a:pt x="4215" y="3418"/>
                      </a:cubicBezTo>
                      <a:lnTo>
                        <a:pt x="4215" y="3418"/>
                      </a:lnTo>
                      <a:cubicBezTo>
                        <a:pt x="4516" y="3397"/>
                        <a:pt x="4664" y="3354"/>
                        <a:pt x="4799" y="3112"/>
                      </a:cubicBezTo>
                      <a:lnTo>
                        <a:pt x="4799" y="3112"/>
                      </a:lnTo>
                      <a:cubicBezTo>
                        <a:pt x="4941" y="2873"/>
                        <a:pt x="5012" y="2453"/>
                        <a:pt x="5012" y="1725"/>
                      </a:cubicBezTo>
                      <a:lnTo>
                        <a:pt x="5012" y="1723"/>
                      </a:lnTo>
                      <a:lnTo>
                        <a:pt x="5012" y="1722"/>
                      </a:lnTo>
                      <a:lnTo>
                        <a:pt x="5012" y="1722"/>
                      </a:lnTo>
                      <a:cubicBezTo>
                        <a:pt x="5012" y="989"/>
                        <a:pt x="4941" y="573"/>
                        <a:pt x="4799" y="332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19" name="Oval 18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6702358" y="566408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0" name="Freeform 19">
                  <a:extLst>
                    <a:ext uri="{FF2B5EF4-FFF2-40B4-BE49-F238E27FC236}">
                      <a16:creationId xmlns:a16="http://schemas.microsoft.com/office/drawing/2014/main" id="{C6FDA468-9051-804F-92C8-0CAACA78F553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17006488" y="5968218"/>
                  <a:ext cx="871929" cy="871929"/>
                </a:xfrm>
                <a:custGeom>
                  <a:avLst/>
                  <a:gdLst>
                    <a:gd name="connsiteX0" fmla="*/ 902928 w 1804628"/>
                    <a:gd name="connsiteY0" fmla="*/ 620127 h 1804628"/>
                    <a:gd name="connsiteX1" fmla="*/ 621192 w 1804628"/>
                    <a:gd name="connsiteY1" fmla="*/ 902494 h 1804628"/>
                    <a:gd name="connsiteX2" fmla="*/ 902928 w 1804628"/>
                    <a:gd name="connsiteY2" fmla="*/ 1184502 h 1804628"/>
                    <a:gd name="connsiteX3" fmla="*/ 1185024 w 1804628"/>
                    <a:gd name="connsiteY3" fmla="*/ 902494 h 1804628"/>
                    <a:gd name="connsiteX4" fmla="*/ 902928 w 1804628"/>
                    <a:gd name="connsiteY4" fmla="*/ 620127 h 1804628"/>
                    <a:gd name="connsiteX5" fmla="*/ 902928 w 1804628"/>
                    <a:gd name="connsiteY5" fmla="*/ 450850 h 1804628"/>
                    <a:gd name="connsiteX6" fmla="*/ 1353778 w 1804628"/>
                    <a:gd name="connsiteY6" fmla="*/ 902494 h 1804628"/>
                    <a:gd name="connsiteX7" fmla="*/ 902928 w 1804628"/>
                    <a:gd name="connsiteY7" fmla="*/ 1353778 h 1804628"/>
                    <a:gd name="connsiteX8" fmla="*/ 452438 w 1804628"/>
                    <a:gd name="connsiteY8" fmla="*/ 902494 h 1804628"/>
                    <a:gd name="connsiteX9" fmla="*/ 902928 w 1804628"/>
                    <a:gd name="connsiteY9" fmla="*/ 450850 h 1804628"/>
                    <a:gd name="connsiteX10" fmla="*/ 1387295 w 1804628"/>
                    <a:gd name="connsiteY10" fmla="*/ 357188 h 1804628"/>
                    <a:gd name="connsiteX11" fmla="*/ 1447440 w 1804628"/>
                    <a:gd name="connsiteY11" fmla="*/ 416973 h 1804628"/>
                    <a:gd name="connsiteX12" fmla="*/ 1387295 w 1804628"/>
                    <a:gd name="connsiteY12" fmla="*/ 477478 h 1804628"/>
                    <a:gd name="connsiteX13" fmla="*/ 1327150 w 1804628"/>
                    <a:gd name="connsiteY13" fmla="*/ 416973 h 1804628"/>
                    <a:gd name="connsiteX14" fmla="*/ 1387295 w 1804628"/>
                    <a:gd name="connsiteY14" fmla="*/ 357188 h 1804628"/>
                    <a:gd name="connsiteX15" fmla="*/ 563968 w 1804628"/>
                    <a:gd name="connsiteY15" fmla="*/ 169262 h 1804628"/>
                    <a:gd name="connsiteX16" fmla="*/ 168902 w 1804628"/>
                    <a:gd name="connsiteY16" fmla="*/ 563969 h 1804628"/>
                    <a:gd name="connsiteX17" fmla="*/ 168902 w 1804628"/>
                    <a:gd name="connsiteY17" fmla="*/ 1241019 h 1804628"/>
                    <a:gd name="connsiteX18" fmla="*/ 563968 w 1804628"/>
                    <a:gd name="connsiteY18" fmla="*/ 1635365 h 1804628"/>
                    <a:gd name="connsiteX19" fmla="*/ 1240659 w 1804628"/>
                    <a:gd name="connsiteY19" fmla="*/ 1635365 h 1804628"/>
                    <a:gd name="connsiteX20" fmla="*/ 1635365 w 1804628"/>
                    <a:gd name="connsiteY20" fmla="*/ 1241019 h 1804628"/>
                    <a:gd name="connsiteX21" fmla="*/ 1635365 w 1804628"/>
                    <a:gd name="connsiteY21" fmla="*/ 563969 h 1804628"/>
                    <a:gd name="connsiteX22" fmla="*/ 1240659 w 1804628"/>
                    <a:gd name="connsiteY22" fmla="*/ 169262 h 1804628"/>
                    <a:gd name="connsiteX23" fmla="*/ 563968 w 1804628"/>
                    <a:gd name="connsiteY23" fmla="*/ 0 h 1804628"/>
                    <a:gd name="connsiteX24" fmla="*/ 1240659 w 1804628"/>
                    <a:gd name="connsiteY24" fmla="*/ 0 h 1804628"/>
                    <a:gd name="connsiteX25" fmla="*/ 1804628 w 1804628"/>
                    <a:gd name="connsiteY25" fmla="*/ 563969 h 1804628"/>
                    <a:gd name="connsiteX26" fmla="*/ 1804628 w 1804628"/>
                    <a:gd name="connsiteY26" fmla="*/ 1241019 h 1804628"/>
                    <a:gd name="connsiteX27" fmla="*/ 1240659 w 1804628"/>
                    <a:gd name="connsiteY27" fmla="*/ 1804628 h 1804628"/>
                    <a:gd name="connsiteX28" fmla="*/ 563968 w 1804628"/>
                    <a:gd name="connsiteY28" fmla="*/ 1804628 h 1804628"/>
                    <a:gd name="connsiteX29" fmla="*/ 0 w 1804628"/>
                    <a:gd name="connsiteY29" fmla="*/ 1241019 h 1804628"/>
                    <a:gd name="connsiteX30" fmla="*/ 0 w 1804628"/>
                    <a:gd name="connsiteY30" fmla="*/ 563969 h 1804628"/>
                    <a:gd name="connsiteX31" fmla="*/ 563968 w 1804628"/>
                    <a:gd name="connsiteY31" fmla="*/ 0 h 180462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804628" h="1804628">
                      <a:moveTo>
                        <a:pt x="902928" y="620127"/>
                      </a:moveTo>
                      <a:cubicBezTo>
                        <a:pt x="747847" y="620127"/>
                        <a:pt x="621192" y="746544"/>
                        <a:pt x="621192" y="902494"/>
                      </a:cubicBezTo>
                      <a:cubicBezTo>
                        <a:pt x="621192" y="1057724"/>
                        <a:pt x="747847" y="1184502"/>
                        <a:pt x="902928" y="1184502"/>
                      </a:cubicBezTo>
                      <a:cubicBezTo>
                        <a:pt x="1058369" y="1184502"/>
                        <a:pt x="1185024" y="1057724"/>
                        <a:pt x="1185024" y="902494"/>
                      </a:cubicBezTo>
                      <a:cubicBezTo>
                        <a:pt x="1185024" y="746544"/>
                        <a:pt x="1058369" y="620127"/>
                        <a:pt x="902928" y="620127"/>
                      </a:cubicBezTo>
                      <a:close/>
                      <a:moveTo>
                        <a:pt x="902928" y="450850"/>
                      </a:moveTo>
                      <a:cubicBezTo>
                        <a:pt x="1152281" y="450850"/>
                        <a:pt x="1353778" y="653262"/>
                        <a:pt x="1353778" y="902494"/>
                      </a:cubicBezTo>
                      <a:cubicBezTo>
                        <a:pt x="1353778" y="1151367"/>
                        <a:pt x="1152281" y="1353778"/>
                        <a:pt x="902928" y="1353778"/>
                      </a:cubicBezTo>
                      <a:cubicBezTo>
                        <a:pt x="653935" y="1353778"/>
                        <a:pt x="452438" y="1151367"/>
                        <a:pt x="452438" y="902494"/>
                      </a:cubicBezTo>
                      <a:cubicBezTo>
                        <a:pt x="452438" y="653262"/>
                        <a:pt x="653935" y="450850"/>
                        <a:pt x="902928" y="450850"/>
                      </a:cubicBezTo>
                      <a:close/>
                      <a:moveTo>
                        <a:pt x="1387295" y="357188"/>
                      </a:moveTo>
                      <a:cubicBezTo>
                        <a:pt x="1420789" y="357188"/>
                        <a:pt x="1447440" y="383839"/>
                        <a:pt x="1447440" y="416973"/>
                      </a:cubicBezTo>
                      <a:cubicBezTo>
                        <a:pt x="1447440" y="450467"/>
                        <a:pt x="1420789" y="477478"/>
                        <a:pt x="1387295" y="477478"/>
                      </a:cubicBezTo>
                      <a:cubicBezTo>
                        <a:pt x="1354161" y="477478"/>
                        <a:pt x="1327150" y="450467"/>
                        <a:pt x="1327150" y="416973"/>
                      </a:cubicBezTo>
                      <a:cubicBezTo>
                        <a:pt x="1327150" y="383839"/>
                        <a:pt x="1354161" y="357188"/>
                        <a:pt x="1387295" y="357188"/>
                      </a:cubicBezTo>
                      <a:close/>
                      <a:moveTo>
                        <a:pt x="563968" y="169262"/>
                      </a:moveTo>
                      <a:cubicBezTo>
                        <a:pt x="346088" y="169262"/>
                        <a:pt x="168902" y="346088"/>
                        <a:pt x="168902" y="563969"/>
                      </a:cubicBezTo>
                      <a:lnTo>
                        <a:pt x="168902" y="1241019"/>
                      </a:lnTo>
                      <a:cubicBezTo>
                        <a:pt x="168902" y="1458540"/>
                        <a:pt x="346088" y="1635365"/>
                        <a:pt x="563968" y="1635365"/>
                      </a:cubicBezTo>
                      <a:lnTo>
                        <a:pt x="1240659" y="1635365"/>
                      </a:lnTo>
                      <a:cubicBezTo>
                        <a:pt x="1458540" y="1635365"/>
                        <a:pt x="1635365" y="1458540"/>
                        <a:pt x="1635365" y="1241019"/>
                      </a:cubicBezTo>
                      <a:lnTo>
                        <a:pt x="1635365" y="563969"/>
                      </a:lnTo>
                      <a:cubicBezTo>
                        <a:pt x="1635365" y="346088"/>
                        <a:pt x="1458540" y="169262"/>
                        <a:pt x="1240659" y="169262"/>
                      </a:cubicBezTo>
                      <a:close/>
                      <a:moveTo>
                        <a:pt x="563968" y="0"/>
                      </a:moveTo>
                      <a:lnTo>
                        <a:pt x="1240659" y="0"/>
                      </a:lnTo>
                      <a:cubicBezTo>
                        <a:pt x="1552175" y="0"/>
                        <a:pt x="1804628" y="252453"/>
                        <a:pt x="1804628" y="563969"/>
                      </a:cubicBezTo>
                      <a:lnTo>
                        <a:pt x="1804628" y="1241019"/>
                      </a:lnTo>
                      <a:cubicBezTo>
                        <a:pt x="1804628" y="1552175"/>
                        <a:pt x="1552175" y="1804628"/>
                        <a:pt x="1240659" y="1804628"/>
                      </a:cubicBezTo>
                      <a:lnTo>
                        <a:pt x="563968" y="1804628"/>
                      </a:lnTo>
                      <a:cubicBezTo>
                        <a:pt x="252453" y="1804628"/>
                        <a:pt x="0" y="1552175"/>
                        <a:pt x="0" y="1241019"/>
                      </a:cubicBezTo>
                      <a:lnTo>
                        <a:pt x="0" y="563969"/>
                      </a:lnTo>
                      <a:cubicBezTo>
                        <a:pt x="0" y="252453"/>
                        <a:pt x="252453" y="0"/>
                        <a:pt x="56396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  <a:effectLst/>
              </p:spPr>
              <p:txBody>
                <a:bodyPr wrap="square" anchor="ctr">
                  <a:noAutofit/>
                </a:bodyPr>
                <a:lstStyle/>
                <a:p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  <p:sp>
              <p:nvSpPr>
                <p:cNvPr id="21" name="Oval 20">
                  <a:extLst>
                    <a:ext uri="{FF2B5EF4-FFF2-40B4-BE49-F238E27FC236}">
                      <a16:creationId xmlns:a16="http://schemas.microsoft.com/office/drawing/2014/main" id="{6A7E689E-DCCF-3649-BE3E-B1BD2AF6B22B}"/>
                    </a:ext>
                  </a:extLst>
                </p:cNvPr>
                <p:cNvSpPr/>
                <p:nvPr/>
              </p:nvSpPr>
              <p:spPr>
                <a:xfrm>
                  <a:off x="18486680" y="5664096"/>
                  <a:ext cx="1480192" cy="1480192"/>
                </a:xfrm>
                <a:prstGeom prst="ellipse">
                  <a:avLst/>
                </a:prstGeom>
                <a:solidFill>
                  <a:schemeClr val="accent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900" dirty="0">
                    <a:latin typeface="Source Sans Pro Light" panose="020B0403030403020204" pitchFamily="34" charset="0"/>
                  </a:endParaRPr>
                </a:p>
              </p:txBody>
            </p:sp>
          </p:grpSp>
          <p:sp>
            <p:nvSpPr>
              <p:cNvPr id="14" name="TextBox 13"/>
              <p:cNvSpPr txBox="1"/>
              <p:nvPr/>
            </p:nvSpPr>
            <p:spPr>
              <a:xfrm>
                <a:off x="8374925" y="6676812"/>
                <a:ext cx="6836108" cy="1184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HK" sz="3250" dirty="0">
                    <a:solidFill>
                      <a:schemeClr val="accent3"/>
                    </a:solidFill>
                  </a:rPr>
                  <a:t>www.hkstp.org</a:t>
                </a:r>
                <a:endParaRPr lang="en-US" sz="3250" dirty="0">
                  <a:solidFill>
                    <a:schemeClr val="accent3"/>
                  </a:solidFill>
                </a:endParaRPr>
              </a:p>
            </p:txBody>
          </p:sp>
        </p:grpSp>
        <p:pic>
          <p:nvPicPr>
            <p:cNvPr id="12" name="Picture 10" descr="White linkedin icon - Free white site logo icons"/>
            <p:cNvPicPr>
              <a:picLocks noChangeAspect="1" noChangeArrowheads="1"/>
            </p:cNvPicPr>
            <p:nvPr/>
          </p:nvPicPr>
          <p:blipFill>
            <a:blip r:embed="rId2" cstate="screen">
              <a:clrChange>
                <a:clrFrom>
                  <a:srgbClr val="000000"/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02617" y="9509725"/>
              <a:ext cx="889696" cy="8896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4185" y="817513"/>
            <a:ext cx="4800632" cy="1936295"/>
          </a:xfrm>
          <a:prstGeom prst="rect">
            <a:avLst/>
          </a:prstGeom>
        </p:spPr>
      </p:pic>
      <p:sp>
        <p:nvSpPr>
          <p:cNvPr id="22" name="TextBox 2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2590452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77918F-ACD5-4028-93AB-9F8D79E20DA9}" type="datetime1">
              <a:rPr lang="en-US" smtClean="0"/>
              <a:t>4/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2F2FE7-8CE3-4984-AA46-E2B35FBCC22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968866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353632" y="6657087"/>
            <a:ext cx="11359397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b="1" i="1" kern="1200" dirty="0">
                <a:solidFill>
                  <a:schemeClr val="bg1">
                    <a:lumMod val="50000"/>
                  </a:schemeClr>
                </a:solidFill>
                <a:effectLst/>
                <a:latin typeface="+mn-lt"/>
                <a:ea typeface="+mn-ea"/>
                <a:cs typeface="+mn-cs"/>
              </a:rPr>
              <a:t>Private &amp; Confidential.  All Rights Reserved.  Do not copy or distribute without written permission from Hong Kong Science and Technology Parks Corporation</a:t>
            </a:r>
            <a:endParaRPr lang="en-US" sz="800" b="1" i="1" dirty="0">
              <a:solidFill>
                <a:schemeClr val="bg1">
                  <a:lumMod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3445574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80682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D5FA965-D4DB-4900-93AB-C3C5C271CB2A}" type="datetimeFigureOut">
              <a:rPr lang="en-US" smtClean="0"/>
              <a:t>4/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209235-B358-4612-8A68-58C9DAFBE11B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CF54CD1-96FE-8B48-B085-B12FC03B82F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885" y="5835889"/>
            <a:ext cx="1278515" cy="682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431817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Picture Placeholder 6"/>
          <p:cNvSpPr>
            <a:spLocks noGrp="1"/>
          </p:cNvSpPr>
          <p:nvPr>
            <p:ph type="pic" idx="21"/>
          </p:nvPr>
        </p:nvSpPr>
        <p:spPr>
          <a:xfrm>
            <a:off x="406399" y="377371"/>
            <a:ext cx="6138863" cy="6125029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78978" y="6232198"/>
            <a:ext cx="258623" cy="248304"/>
          </a:xfrm>
          <a:prstGeom prst="rect">
            <a:avLst/>
          </a:prstGeom>
        </p:spPr>
        <p:txBody>
          <a:bodyPr/>
          <a:lstStyle>
            <a:lvl1pPr algn="r">
              <a:spcBef>
                <a:spcPts val="0"/>
              </a:spcBef>
              <a:defRPr sz="1200">
                <a:solidFill>
                  <a:srgbClr val="888888"/>
                </a:solidFill>
                <a:latin typeface="+mn-lt"/>
                <a:ea typeface="+mn-ea"/>
                <a:cs typeface="+mn-cs"/>
                <a:sym typeface="Calibri"/>
              </a:defRPr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2592850"/>
      </p:ext>
    </p:extLst>
  </p:cSld>
  <p:clrMapOvr>
    <a:masterClrMapping/>
  </p:clrMapOvr>
  <p:transition spd="med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166588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4E9223F-721F-47BF-9FD5-0F8D12FF0D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667345-2558-425A-8533-9BFDBCE15005}" type="datetime1">
              <a:rPr lang="en-US" smtClean="0"/>
              <a:t>4/4/2023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915714-6BBA-4593-8591-4E26F7D58D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E06F857-D2E1-44DD-ABDD-EBB739645B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98EE3D-8CD1-4C3F-BD1C-C98C9596463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5E5791F-3F71-BF44-BA4E-0B7D386184DC}"/>
              </a:ext>
            </a:extLst>
          </p:cNvPr>
          <p:cNvSpPr/>
          <p:nvPr userDrawn="1"/>
        </p:nvSpPr>
        <p:spPr>
          <a:xfrm>
            <a:off x="0" y="467833"/>
            <a:ext cx="11729822" cy="589043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Triangle 6">
            <a:extLst>
              <a:ext uri="{FF2B5EF4-FFF2-40B4-BE49-F238E27FC236}">
                <a16:creationId xmlns:a16="http://schemas.microsoft.com/office/drawing/2014/main" id="{19AE2E01-52D8-994A-80AC-622260011952}"/>
              </a:ext>
            </a:extLst>
          </p:cNvPr>
          <p:cNvSpPr/>
          <p:nvPr userDrawn="1"/>
        </p:nvSpPr>
        <p:spPr>
          <a:xfrm>
            <a:off x="1915754" y="3684257"/>
            <a:ext cx="3112470" cy="3112470"/>
          </a:xfrm>
          <a:prstGeom prst="triangle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Triangle 7">
            <a:extLst>
              <a:ext uri="{FF2B5EF4-FFF2-40B4-BE49-F238E27FC236}">
                <a16:creationId xmlns:a16="http://schemas.microsoft.com/office/drawing/2014/main" id="{B8F16C36-FC88-9044-8303-4AAB2C148BA5}"/>
              </a:ext>
            </a:extLst>
          </p:cNvPr>
          <p:cNvSpPr/>
          <p:nvPr userDrawn="1"/>
        </p:nvSpPr>
        <p:spPr>
          <a:xfrm>
            <a:off x="4668946" y="522786"/>
            <a:ext cx="718556" cy="718556"/>
          </a:xfrm>
          <a:prstGeom prst="triangle">
            <a:avLst/>
          </a:prstGeom>
          <a:pattFill prst="dkHorz">
            <a:fgClr>
              <a:schemeClr val="accent1"/>
            </a:fgClr>
            <a:bgClr>
              <a:schemeClr val="tx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DA0D001-BFE9-164E-A088-53FE53ABF5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0"/>
            <a:ext cx="5123378" cy="6864485"/>
          </a:xfrm>
          <a:custGeom>
            <a:avLst/>
            <a:gdLst>
              <a:gd name="connsiteX0" fmla="*/ 1602021 w 6096000"/>
              <a:gd name="connsiteY0" fmla="*/ 0 h 6858000"/>
              <a:gd name="connsiteX1" fmla="*/ 6096000 w 6096000"/>
              <a:gd name="connsiteY1" fmla="*/ 0 h 6858000"/>
              <a:gd name="connsiteX2" fmla="*/ 1612869 w 6096000"/>
              <a:gd name="connsiteY2" fmla="*/ 6841445 h 6858000"/>
              <a:gd name="connsiteX3" fmla="*/ 1612869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6" fmla="*/ 1602021 w 6096000"/>
              <a:gd name="connsiteY6" fmla="*/ 0 h 6858000"/>
              <a:gd name="connsiteX0" fmla="*/ 1602021 w 6096000"/>
              <a:gd name="connsiteY0" fmla="*/ 0 h 6858000"/>
              <a:gd name="connsiteX1" fmla="*/ 6096000 w 6096000"/>
              <a:gd name="connsiteY1" fmla="*/ 0 h 6858000"/>
              <a:gd name="connsiteX2" fmla="*/ 2014112 w 6096000"/>
              <a:gd name="connsiteY2" fmla="*/ 6857657 h 6858000"/>
              <a:gd name="connsiteX3" fmla="*/ 1612869 w 6096000"/>
              <a:gd name="connsiteY3" fmla="*/ 6858000 h 6858000"/>
              <a:gd name="connsiteX4" fmla="*/ 0 w 6096000"/>
              <a:gd name="connsiteY4" fmla="*/ 6858000 h 6858000"/>
              <a:gd name="connsiteX5" fmla="*/ 0 w 6096000"/>
              <a:gd name="connsiteY5" fmla="*/ 0 h 6858000"/>
              <a:gd name="connsiteX6" fmla="*/ 1602021 w 6096000"/>
              <a:gd name="connsiteY6" fmla="*/ 0 h 6858000"/>
              <a:gd name="connsiteX0" fmla="*/ 1602021 w 6096000"/>
              <a:gd name="connsiteY0" fmla="*/ 0 h 6864485"/>
              <a:gd name="connsiteX1" fmla="*/ 6096000 w 6096000"/>
              <a:gd name="connsiteY1" fmla="*/ 0 h 6864485"/>
              <a:gd name="connsiteX2" fmla="*/ 2014112 w 6096000"/>
              <a:gd name="connsiteY2" fmla="*/ 6857657 h 6864485"/>
              <a:gd name="connsiteX3" fmla="*/ 2033403 w 6096000"/>
              <a:gd name="connsiteY3" fmla="*/ 6864485 h 6864485"/>
              <a:gd name="connsiteX4" fmla="*/ 0 w 6096000"/>
              <a:gd name="connsiteY4" fmla="*/ 6858000 h 6864485"/>
              <a:gd name="connsiteX5" fmla="*/ 0 w 6096000"/>
              <a:gd name="connsiteY5" fmla="*/ 0 h 6864485"/>
              <a:gd name="connsiteX6" fmla="*/ 1602021 w 6096000"/>
              <a:gd name="connsiteY6" fmla="*/ 0 h 6864485"/>
              <a:gd name="connsiteX0" fmla="*/ 1602021 w 6096000"/>
              <a:gd name="connsiteY0" fmla="*/ 0 h 6864485"/>
              <a:gd name="connsiteX1" fmla="*/ 6096000 w 6096000"/>
              <a:gd name="connsiteY1" fmla="*/ 0 h 6864485"/>
              <a:gd name="connsiteX2" fmla="*/ 2014112 w 6096000"/>
              <a:gd name="connsiteY2" fmla="*/ 6857657 h 6864485"/>
              <a:gd name="connsiteX3" fmla="*/ 2002538 w 6096000"/>
              <a:gd name="connsiteY3" fmla="*/ 6864485 h 6864485"/>
              <a:gd name="connsiteX4" fmla="*/ 0 w 6096000"/>
              <a:gd name="connsiteY4" fmla="*/ 6858000 h 6864485"/>
              <a:gd name="connsiteX5" fmla="*/ 0 w 6096000"/>
              <a:gd name="connsiteY5" fmla="*/ 0 h 6864485"/>
              <a:gd name="connsiteX6" fmla="*/ 1602021 w 6096000"/>
              <a:gd name="connsiteY6" fmla="*/ 0 h 68644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6000" h="6864485">
                <a:moveTo>
                  <a:pt x="1602021" y="0"/>
                </a:moveTo>
                <a:lnTo>
                  <a:pt x="6096000" y="0"/>
                </a:lnTo>
                <a:lnTo>
                  <a:pt x="2014112" y="6857657"/>
                </a:lnTo>
                <a:lnTo>
                  <a:pt x="2002538" y="6864485"/>
                </a:lnTo>
                <a:lnTo>
                  <a:pt x="0" y="6858000"/>
                </a:lnTo>
                <a:lnTo>
                  <a:pt x="0" y="0"/>
                </a:lnTo>
                <a:lnTo>
                  <a:pt x="1602021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810C3D4C-012F-184D-B7D5-E89B7B9A72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06410" y="2679259"/>
            <a:ext cx="2988860" cy="1395208"/>
          </a:xfrm>
        </p:spPr>
        <p:txBody>
          <a:bodyPr lIns="0" anchor="ctr">
            <a:normAutofit/>
          </a:bodyPr>
          <a:lstStyle>
            <a:lvl1pPr algn="ctr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D16862ED-2F5E-FE49-AB49-49CEC0EA33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18426" y="793580"/>
            <a:ext cx="3304279" cy="5270839"/>
          </a:xfrm>
        </p:spPr>
        <p:txBody>
          <a:bodyPr lIns="0" anchor="ctr">
            <a:normAutofit/>
          </a:bodyPr>
          <a:lstStyle>
            <a:lvl1pPr marL="285750" indent="-285750">
              <a:lnSpc>
                <a:spcPct val="100000"/>
              </a:lnSpc>
              <a:spcBef>
                <a:spcPts val="0"/>
              </a:spcBef>
              <a:spcAft>
                <a:spcPts val="15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 spc="0">
                <a:solidFill>
                  <a:schemeClr val="bg1"/>
                </a:solidFill>
              </a:defRPr>
            </a:lvl1pPr>
            <a:lvl2pPr>
              <a:lnSpc>
                <a:spcPct val="150000"/>
              </a:lnSpc>
              <a:defRPr sz="1200" spc="0">
                <a:solidFill>
                  <a:schemeClr val="tx2"/>
                </a:solidFill>
              </a:defRPr>
            </a:lvl2pPr>
            <a:lvl3pPr>
              <a:lnSpc>
                <a:spcPct val="150000"/>
              </a:lnSpc>
              <a:defRPr sz="1200" spc="0">
                <a:solidFill>
                  <a:schemeClr val="tx2"/>
                </a:solidFill>
              </a:defRPr>
            </a:lvl3pPr>
            <a:lvl4pPr>
              <a:lnSpc>
                <a:spcPct val="150000"/>
              </a:lnSpc>
              <a:defRPr sz="1200" spc="0">
                <a:solidFill>
                  <a:schemeClr val="tx2"/>
                </a:solidFill>
              </a:defRPr>
            </a:lvl4pPr>
            <a:lvl5pPr>
              <a:lnSpc>
                <a:spcPct val="150000"/>
              </a:lnSpc>
              <a:defRPr sz="1200" spc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7616828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Wkk\Desktop\STP\pic\hkstp_response-to-ces-2018-policy-address-crop.jpg">
            <a:extLst>
              <a:ext uri="{FF2B5EF4-FFF2-40B4-BE49-F238E27FC236}">
                <a16:creationId xmlns:a16="http://schemas.microsoft.com/office/drawing/2014/main" id="{2568D9EB-8DD8-4949-88F7-91D22CB8E81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" y="6"/>
            <a:ext cx="12191997" cy="68656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Freeform 7">
            <a:extLst>
              <a:ext uri="{FF2B5EF4-FFF2-40B4-BE49-F238E27FC236}">
                <a16:creationId xmlns:a16="http://schemas.microsoft.com/office/drawing/2014/main" id="{83B1B1E5-311B-E846-9D30-AEA744E40570}"/>
              </a:ext>
            </a:extLst>
          </p:cNvPr>
          <p:cNvSpPr/>
          <p:nvPr userDrawn="1"/>
        </p:nvSpPr>
        <p:spPr>
          <a:xfrm>
            <a:off x="-8" y="2951028"/>
            <a:ext cx="9925049" cy="3906972"/>
          </a:xfrm>
          <a:custGeom>
            <a:avLst/>
            <a:gdLst>
              <a:gd name="connsiteX0" fmla="*/ 0 w 9519791"/>
              <a:gd name="connsiteY0" fmla="*/ 0 h 2981631"/>
              <a:gd name="connsiteX1" fmla="*/ 9519791 w 9519791"/>
              <a:gd name="connsiteY1" fmla="*/ 0 h 2981631"/>
              <a:gd name="connsiteX2" fmla="*/ 7787046 w 9519791"/>
              <a:gd name="connsiteY2" fmla="*/ 2981631 h 2981631"/>
              <a:gd name="connsiteX3" fmla="*/ 0 w 9519791"/>
              <a:gd name="connsiteY3" fmla="*/ 2981631 h 2981631"/>
              <a:gd name="connsiteX4" fmla="*/ 0 w 9519791"/>
              <a:gd name="connsiteY4" fmla="*/ 0 h 2981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19791" h="2981631">
                <a:moveTo>
                  <a:pt x="0" y="0"/>
                </a:moveTo>
                <a:lnTo>
                  <a:pt x="9519791" y="0"/>
                </a:lnTo>
                <a:lnTo>
                  <a:pt x="7787046" y="2981631"/>
                </a:lnTo>
                <a:lnTo>
                  <a:pt x="0" y="2981631"/>
                </a:lnTo>
                <a:lnTo>
                  <a:pt x="0" y="0"/>
                </a:lnTo>
                <a:close/>
              </a:path>
            </a:pathLst>
          </a:custGeom>
          <a:solidFill>
            <a:srgbClr val="063856">
              <a:alpha val="7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1351" tIns="45684" rIns="91351" bIns="45684" spcCol="0" rtlCol="0" anchor="ctr">
            <a:noAutofit/>
          </a:bodyPr>
          <a:lstStyle/>
          <a:p>
            <a:pPr algn="ctr" defTabSz="913442"/>
            <a:endParaRPr lang="en-US" sz="1867">
              <a:solidFill>
                <a:prstClr val="white"/>
              </a:solidFill>
              <a:latin typeface="Calibri Ligh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3BB260-63C1-DC44-A0E0-2099C88D51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23681" y="2659843"/>
            <a:ext cx="8836503" cy="2387600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D6FB9AC-7439-4C48-A5F8-85FDE78B063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3681" y="5139518"/>
            <a:ext cx="8286919" cy="581547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589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_statement_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276297" y="0"/>
            <a:ext cx="11915703" cy="4314825"/>
          </a:xfrm>
        </p:spPr>
        <p:txBody>
          <a:bodyPr anchor="ctr"/>
          <a:lstStyle>
            <a:lvl1pPr marL="0" marR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i="1">
                <a:solidFill>
                  <a:schemeClr val="tx1">
                    <a:lumMod val="40000"/>
                    <a:lumOff val="60000"/>
                  </a:schemeClr>
                </a:solidFill>
              </a:defRPr>
            </a:lvl1pPr>
          </a:lstStyle>
          <a:p>
            <a:pPr marL="0" marR="0" lvl="0" indent="0" algn="ctr" defTabSz="91421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HK"/>
              <a:t>[insert your picture here]</a:t>
            </a:r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1108118" y="3314701"/>
            <a:ext cx="10382024" cy="2990850"/>
          </a:xfrm>
          <a:prstGeom prst="rect">
            <a:avLst/>
          </a:prstGeom>
          <a:solidFill>
            <a:schemeClr val="accent3">
              <a:lumMod val="60000"/>
              <a:lumOff val="40000"/>
              <a:alpha val="60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219518" y="3876675"/>
            <a:ext cx="10127712" cy="2105025"/>
          </a:xfrm>
        </p:spPr>
        <p:txBody>
          <a:bodyPr anchor="ctr">
            <a:normAutofit/>
          </a:bodyPr>
          <a:lstStyle>
            <a:lvl1pPr marL="0" indent="0" algn="ctr">
              <a:buNone/>
              <a:defRPr sz="3000" i="1" baseline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lvl="0"/>
            <a:r>
              <a:rPr lang="en-HK"/>
              <a:t>[Insert your statement / conclusion here]</a:t>
            </a:r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04122" y="114987"/>
            <a:ext cx="1487878" cy="809939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369374" y="6630055"/>
            <a:ext cx="11660799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 userDrawn="1"/>
        </p:nvSpPr>
        <p:spPr>
          <a:xfrm>
            <a:off x="353632" y="6657087"/>
            <a:ext cx="486994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391654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89F8C84-D02B-CE4F-91AF-E12AC368EC4A}"/>
              </a:ext>
            </a:extLst>
          </p:cNvPr>
          <p:cNvSpPr/>
          <p:nvPr userDrawn="1"/>
        </p:nvSpPr>
        <p:spPr>
          <a:xfrm>
            <a:off x="0" y="0"/>
            <a:ext cx="510746" cy="169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42B340A-DE01-144E-A071-080EE572F763}"/>
              </a:ext>
            </a:extLst>
          </p:cNvPr>
          <p:cNvSpPr/>
          <p:nvPr userDrawn="1"/>
        </p:nvSpPr>
        <p:spPr>
          <a:xfrm>
            <a:off x="502508" y="0"/>
            <a:ext cx="11689492" cy="16906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D4FC930-D8EE-984C-9326-D13833255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8888CB3-8C2A-8C4A-9C03-A03D8AE77ED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935331"/>
            <a:ext cx="10515600" cy="4241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3340A9-5B7D-FA43-8864-9D3BF20CF9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337284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FC06716-08A0-7A44-B00F-78EB50B9610A}"/>
              </a:ext>
            </a:extLst>
          </p:cNvPr>
          <p:cNvSpPr/>
          <p:nvPr userDrawn="1"/>
        </p:nvSpPr>
        <p:spPr>
          <a:xfrm>
            <a:off x="0" y="-1"/>
            <a:ext cx="510746" cy="5729161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E98309-5384-DE48-A637-4B4E8FFCA974}"/>
              </a:ext>
            </a:extLst>
          </p:cNvPr>
          <p:cNvSpPr/>
          <p:nvPr userDrawn="1"/>
        </p:nvSpPr>
        <p:spPr>
          <a:xfrm>
            <a:off x="502508" y="-1"/>
            <a:ext cx="11689492" cy="5729161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EA7557A-2903-A244-A74F-8E113E3313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E51531-47A8-B940-A5A4-D86AC05FAF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6B3228-AF76-F040-95EF-28B3AB0E02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767912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D52A990D-F86A-A04D-ABA3-E30D07080D5E}"/>
              </a:ext>
            </a:extLst>
          </p:cNvPr>
          <p:cNvSpPr/>
          <p:nvPr userDrawn="1"/>
        </p:nvSpPr>
        <p:spPr>
          <a:xfrm>
            <a:off x="0" y="0"/>
            <a:ext cx="510746" cy="169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2838522-96F0-5B43-96DB-A1133072DA07}"/>
              </a:ext>
            </a:extLst>
          </p:cNvPr>
          <p:cNvSpPr/>
          <p:nvPr userDrawn="1"/>
        </p:nvSpPr>
        <p:spPr>
          <a:xfrm>
            <a:off x="502508" y="0"/>
            <a:ext cx="11689492" cy="16906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70F744-3837-7245-9719-B720662884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896AA1-03CE-7441-B257-EBC67562D4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9043932-67E0-D644-B8F0-913F9C9E6E2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A5D8E1-75F4-CB4E-B7FF-63805A9573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66300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532E7C3-1739-5042-AF8C-F8BEFDD3A096}"/>
              </a:ext>
            </a:extLst>
          </p:cNvPr>
          <p:cNvSpPr/>
          <p:nvPr userDrawn="1"/>
        </p:nvSpPr>
        <p:spPr>
          <a:xfrm>
            <a:off x="0" y="0"/>
            <a:ext cx="510746" cy="169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D6B68C7-D5BE-474C-8019-366C0E58608F}"/>
              </a:ext>
            </a:extLst>
          </p:cNvPr>
          <p:cNvSpPr/>
          <p:nvPr userDrawn="1"/>
        </p:nvSpPr>
        <p:spPr>
          <a:xfrm>
            <a:off x="502508" y="0"/>
            <a:ext cx="11689492" cy="16906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6EC09D-2E3C-324B-906B-128E6FC0D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B7E1A8-03DE-4640-ADE9-7CA77CD612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0EF230D-FA11-874E-9BBA-279EF823F7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FDB7778-8800-CD48-8997-647C56AA07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F6ACEA5-8FCD-CA4D-A059-AFC236D33EC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297821E-EBAE-464A-A7DA-9B8D613C0C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82909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DCC15F06-9266-7B48-BEB1-84CF0CAEEB05}"/>
              </a:ext>
            </a:extLst>
          </p:cNvPr>
          <p:cNvSpPr/>
          <p:nvPr userDrawn="1"/>
        </p:nvSpPr>
        <p:spPr>
          <a:xfrm>
            <a:off x="0" y="0"/>
            <a:ext cx="510746" cy="169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6077B8D-7F14-AE4B-8E15-A57EBBE2C63A}"/>
              </a:ext>
            </a:extLst>
          </p:cNvPr>
          <p:cNvSpPr/>
          <p:nvPr userDrawn="1"/>
        </p:nvSpPr>
        <p:spPr>
          <a:xfrm>
            <a:off x="502508" y="0"/>
            <a:ext cx="11689492" cy="16906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272D141-FCF0-E848-B8A1-3458BFD7E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949F0C-BF41-AD44-8BD6-C5BE3F274F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711117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CE2F1E-729D-0A49-B539-E9953AE9F5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4BCBB33-326B-E94E-8FCD-62824DB2AA3F}"/>
              </a:ext>
            </a:extLst>
          </p:cNvPr>
          <p:cNvSpPr/>
          <p:nvPr userDrawn="1"/>
        </p:nvSpPr>
        <p:spPr>
          <a:xfrm>
            <a:off x="0" y="6721475"/>
            <a:ext cx="510746" cy="136525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50A9397-5558-4040-BD0F-7E77D2FFA893}"/>
              </a:ext>
            </a:extLst>
          </p:cNvPr>
          <p:cNvSpPr/>
          <p:nvPr userDrawn="1"/>
        </p:nvSpPr>
        <p:spPr>
          <a:xfrm>
            <a:off x="502508" y="6721475"/>
            <a:ext cx="11689492" cy="136525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8558612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92C97FAA-4B1A-264C-A7E2-ECDF660D3F12}"/>
              </a:ext>
            </a:extLst>
          </p:cNvPr>
          <p:cNvSpPr/>
          <p:nvPr userDrawn="1"/>
        </p:nvSpPr>
        <p:spPr>
          <a:xfrm>
            <a:off x="0" y="0"/>
            <a:ext cx="510746" cy="6858000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B8C3E37-72D3-0444-A226-6EFA9CBDEC8D}"/>
              </a:ext>
            </a:extLst>
          </p:cNvPr>
          <p:cNvSpPr/>
          <p:nvPr userDrawn="1"/>
        </p:nvSpPr>
        <p:spPr>
          <a:xfrm>
            <a:off x="502508" y="0"/>
            <a:ext cx="4457910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15E21F8-4996-954C-A7A2-AC6A343231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844517-5517-F748-A365-F14D849580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38ADBF-CCF4-E94B-BBFE-B8D9D6E5B0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0CAFE35-C285-9142-BDC7-90E816010F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81522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40E933B-76D7-3942-9AC7-873E6E5FBB4A}"/>
              </a:ext>
            </a:extLst>
          </p:cNvPr>
          <p:cNvSpPr/>
          <p:nvPr userDrawn="1"/>
        </p:nvSpPr>
        <p:spPr>
          <a:xfrm>
            <a:off x="0" y="0"/>
            <a:ext cx="510746" cy="6858000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6C260B4-0DDB-FE40-A2F8-60038A15AE49}"/>
              </a:ext>
            </a:extLst>
          </p:cNvPr>
          <p:cNvSpPr/>
          <p:nvPr userDrawn="1"/>
        </p:nvSpPr>
        <p:spPr>
          <a:xfrm>
            <a:off x="502508" y="0"/>
            <a:ext cx="4457910" cy="6858000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0E184E-F9F5-5D4A-BD28-6601A6C85E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208DEB-89BE-544C-9F2C-86FFF5D8E44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FF6AE6-BFF8-994B-A485-5005CFC030E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2863592-6C9B-3847-983F-1F891E8BA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855434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44D4F10-7A00-5747-BC73-E423AC697325}"/>
              </a:ext>
            </a:extLst>
          </p:cNvPr>
          <p:cNvSpPr/>
          <p:nvPr userDrawn="1"/>
        </p:nvSpPr>
        <p:spPr>
          <a:xfrm>
            <a:off x="0" y="0"/>
            <a:ext cx="510746" cy="1690688"/>
          </a:xfrm>
          <a:prstGeom prst="rect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19F54051-FA8C-7340-8237-B2AA86726F96}"/>
              </a:ext>
            </a:extLst>
          </p:cNvPr>
          <p:cNvSpPr/>
          <p:nvPr userDrawn="1"/>
        </p:nvSpPr>
        <p:spPr>
          <a:xfrm>
            <a:off x="502508" y="0"/>
            <a:ext cx="11689492" cy="1690688"/>
          </a:xfrm>
          <a:prstGeom prst="rect">
            <a:avLst/>
          </a:prstGeom>
          <a:solidFill>
            <a:schemeClr val="accent5">
              <a:lumMod val="5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5A3B37-5634-FE4C-A7A7-98168EAA62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744AC0-D6BB-3E44-9BFA-F8E7A8CAFC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2E15DC2-5F6A-5D4E-A1B7-5384540EDC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4256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E3CFF5F-03D9-9544-A521-760D3E9855F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D3A2EF3-CE32-5045-BDB6-F4D0547E81C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D997A8-3888-194C-B9DD-2894CEBB174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04EA86-FCA6-2944-BB69-D150C85CE6C9}" type="datetimeFigureOut">
              <a:rPr lang="en-US" smtClean="0"/>
              <a:t>4/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A9342E-3078-EF40-BB27-75550A339C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56F4E0A-7EA3-D04C-947F-AE42050C89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F47DCF-47FD-8A4A-8ECB-10147328D7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110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image" Target="../media/image1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theme" Target="../theme/theme4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.xml"/><Relationship Id="rId13" Type="http://schemas.openxmlformats.org/officeDocument/2006/relationships/slideLayout" Target="../slideLayouts/slideLayout75.xml"/><Relationship Id="rId18" Type="http://schemas.openxmlformats.org/officeDocument/2006/relationships/slideLayout" Target="../slideLayouts/slideLayout80.xml"/><Relationship Id="rId26" Type="http://schemas.openxmlformats.org/officeDocument/2006/relationships/slideLayout" Target="../slideLayouts/slideLayout88.xml"/><Relationship Id="rId3" Type="http://schemas.openxmlformats.org/officeDocument/2006/relationships/slideLayout" Target="../slideLayouts/slideLayout65.xml"/><Relationship Id="rId21" Type="http://schemas.openxmlformats.org/officeDocument/2006/relationships/slideLayout" Target="../slideLayouts/slideLayout83.xml"/><Relationship Id="rId7" Type="http://schemas.openxmlformats.org/officeDocument/2006/relationships/slideLayout" Target="../slideLayouts/slideLayout69.xml"/><Relationship Id="rId12" Type="http://schemas.openxmlformats.org/officeDocument/2006/relationships/slideLayout" Target="../slideLayouts/slideLayout74.xml"/><Relationship Id="rId17" Type="http://schemas.openxmlformats.org/officeDocument/2006/relationships/slideLayout" Target="../slideLayouts/slideLayout79.xml"/><Relationship Id="rId25" Type="http://schemas.openxmlformats.org/officeDocument/2006/relationships/slideLayout" Target="../slideLayouts/slideLayout87.xml"/><Relationship Id="rId2" Type="http://schemas.openxmlformats.org/officeDocument/2006/relationships/slideLayout" Target="../slideLayouts/slideLayout64.xml"/><Relationship Id="rId16" Type="http://schemas.openxmlformats.org/officeDocument/2006/relationships/slideLayout" Target="../slideLayouts/slideLayout78.xml"/><Relationship Id="rId20" Type="http://schemas.openxmlformats.org/officeDocument/2006/relationships/slideLayout" Target="../slideLayouts/slideLayout82.xml"/><Relationship Id="rId1" Type="http://schemas.openxmlformats.org/officeDocument/2006/relationships/slideLayout" Target="../slideLayouts/slideLayout63.xml"/><Relationship Id="rId6" Type="http://schemas.openxmlformats.org/officeDocument/2006/relationships/slideLayout" Target="../slideLayouts/slideLayout68.xml"/><Relationship Id="rId11" Type="http://schemas.openxmlformats.org/officeDocument/2006/relationships/slideLayout" Target="../slideLayouts/slideLayout73.xml"/><Relationship Id="rId24" Type="http://schemas.openxmlformats.org/officeDocument/2006/relationships/slideLayout" Target="../slideLayouts/slideLayout86.xml"/><Relationship Id="rId5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77.xml"/><Relationship Id="rId23" Type="http://schemas.openxmlformats.org/officeDocument/2006/relationships/slideLayout" Target="../slideLayouts/slideLayout85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72.xml"/><Relationship Id="rId19" Type="http://schemas.openxmlformats.org/officeDocument/2006/relationships/slideLayout" Target="../slideLayouts/slideLayout81.xml"/><Relationship Id="rId4" Type="http://schemas.openxmlformats.org/officeDocument/2006/relationships/slideLayout" Target="../slideLayouts/slideLayout66.xml"/><Relationship Id="rId9" Type="http://schemas.openxmlformats.org/officeDocument/2006/relationships/slideLayout" Target="../slideLayouts/slideLayout71.xml"/><Relationship Id="rId14" Type="http://schemas.openxmlformats.org/officeDocument/2006/relationships/slideLayout" Target="../slideLayouts/slideLayout76.xml"/><Relationship Id="rId22" Type="http://schemas.openxmlformats.org/officeDocument/2006/relationships/slideLayout" Target="../slideLayouts/slideLayout84.xml"/><Relationship Id="rId27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6.xml"/><Relationship Id="rId13" Type="http://schemas.openxmlformats.org/officeDocument/2006/relationships/slideLayout" Target="../slideLayouts/slideLayout101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100.xml"/><Relationship Id="rId2" Type="http://schemas.openxmlformats.org/officeDocument/2006/relationships/slideLayout" Target="../slideLayouts/slideLayout90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11" Type="http://schemas.openxmlformats.org/officeDocument/2006/relationships/slideLayout" Target="../slideLayouts/slideLayout99.xml"/><Relationship Id="rId5" Type="http://schemas.openxmlformats.org/officeDocument/2006/relationships/slideLayout" Target="../slideLayouts/slideLayout93.xml"/><Relationship Id="rId15" Type="http://schemas.openxmlformats.org/officeDocument/2006/relationships/slideLayout" Target="../slideLayouts/slideLayout103.xml"/><Relationship Id="rId10" Type="http://schemas.openxmlformats.org/officeDocument/2006/relationships/slideLayout" Target="../slideLayouts/slideLayout98.xml"/><Relationship Id="rId4" Type="http://schemas.openxmlformats.org/officeDocument/2006/relationships/slideLayout" Target="../slideLayouts/slideLayout92.xml"/><Relationship Id="rId9" Type="http://schemas.openxmlformats.org/officeDocument/2006/relationships/slideLayout" Target="../slideLayouts/slideLayout97.xml"/><Relationship Id="rId14" Type="http://schemas.openxmlformats.org/officeDocument/2006/relationships/slideLayout" Target="../slideLayouts/slideLayout10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1.xml"/><Relationship Id="rId13" Type="http://schemas.openxmlformats.org/officeDocument/2006/relationships/slideLayout" Target="../slideLayouts/slideLayout116.xml"/><Relationship Id="rId18" Type="http://schemas.openxmlformats.org/officeDocument/2006/relationships/slideLayout" Target="../slideLayouts/slideLayout121.xml"/><Relationship Id="rId3" Type="http://schemas.openxmlformats.org/officeDocument/2006/relationships/slideLayout" Target="../slideLayouts/slideLayout106.xml"/><Relationship Id="rId21" Type="http://schemas.openxmlformats.org/officeDocument/2006/relationships/slideLayout" Target="../slideLayouts/slideLayout124.xml"/><Relationship Id="rId7" Type="http://schemas.openxmlformats.org/officeDocument/2006/relationships/slideLayout" Target="../slideLayouts/slideLayout110.xml"/><Relationship Id="rId12" Type="http://schemas.openxmlformats.org/officeDocument/2006/relationships/slideLayout" Target="../slideLayouts/slideLayout115.xml"/><Relationship Id="rId17" Type="http://schemas.openxmlformats.org/officeDocument/2006/relationships/slideLayout" Target="../slideLayouts/slideLayout120.xml"/><Relationship Id="rId2" Type="http://schemas.openxmlformats.org/officeDocument/2006/relationships/slideLayout" Target="../slideLayouts/slideLayout105.xml"/><Relationship Id="rId16" Type="http://schemas.openxmlformats.org/officeDocument/2006/relationships/slideLayout" Target="../slideLayouts/slideLayout119.xml"/><Relationship Id="rId20" Type="http://schemas.openxmlformats.org/officeDocument/2006/relationships/slideLayout" Target="../slideLayouts/slideLayout123.xml"/><Relationship Id="rId1" Type="http://schemas.openxmlformats.org/officeDocument/2006/relationships/slideLayout" Target="../slideLayouts/slideLayout104.xml"/><Relationship Id="rId6" Type="http://schemas.openxmlformats.org/officeDocument/2006/relationships/slideLayout" Target="../slideLayouts/slideLayout109.xml"/><Relationship Id="rId11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18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113.xml"/><Relationship Id="rId19" Type="http://schemas.openxmlformats.org/officeDocument/2006/relationships/slideLayout" Target="../slideLayouts/slideLayout122.xml"/><Relationship Id="rId4" Type="http://schemas.openxmlformats.org/officeDocument/2006/relationships/slideLayout" Target="../slideLayouts/slideLayout107.xml"/><Relationship Id="rId9" Type="http://schemas.openxmlformats.org/officeDocument/2006/relationships/slideLayout" Target="../slideLayouts/slideLayout112.xml"/><Relationship Id="rId14" Type="http://schemas.openxmlformats.org/officeDocument/2006/relationships/slideLayout" Target="../slideLayouts/slideLayout117.xml"/><Relationship Id="rId22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764794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9" r:id="rId4"/>
    <p:sldLayoutId id="2147483690" r:id="rId5"/>
    <p:sldLayoutId id="2147483691" r:id="rId6"/>
    <p:sldLayoutId id="2147483687" r:id="rId7"/>
    <p:sldLayoutId id="2147483688" r:id="rId8"/>
    <p:sldLayoutId id="2147483695" r:id="rId9"/>
    <p:sldLayoutId id="2147483696" r:id="rId10"/>
    <p:sldLayoutId id="2147483714" r:id="rId11"/>
    <p:sldLayoutId id="2147483924" r:id="rId12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lang="en-US" sz="3000" b="1" i="0" kern="1200">
          <a:solidFill>
            <a:schemeClr val="tx1">
              <a:lumMod val="75000"/>
            </a:schemeClr>
          </a:solidFill>
          <a:latin typeface="+mn-lt"/>
          <a:ea typeface="Open Sans Light" panose="020B0306030504020204" pitchFamily="34" charset="0"/>
          <a:cs typeface="Poppins" pitchFamily="2" charset="77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Tx/>
        <a:buBlip>
          <a:blip r:embed="rId14"/>
        </a:buBlip>
        <a:defRPr lang="en-US" sz="24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lang="en-US" sz="20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lang="en-US" sz="18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lang="en-US" sz="16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14"/>
        </a:buBlip>
        <a:defRPr lang="en-US" sz="1600" b="0" i="0" kern="1200" dirty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>
          <p15:clr>
            <a:srgbClr val="A4A3A4"/>
          </p15:clr>
        </p15:guide>
        <p15:guide id="2" pos="958">
          <p15:clr>
            <a:srgbClr val="A4A3A4"/>
          </p15:clr>
        </p15:guide>
        <p15:guide id="3" pos="14398">
          <p15:clr>
            <a:srgbClr val="A4A3A4"/>
          </p15:clr>
        </p15:guide>
        <p15:guide id="4" orient="horz" pos="8160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8" name="TextBox 7"/>
          <p:cNvSpPr txBox="1"/>
          <p:nvPr userDrawn="1"/>
        </p:nvSpPr>
        <p:spPr>
          <a:xfrm>
            <a:off x="332017" y="6663869"/>
            <a:ext cx="5666401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HK" sz="800" i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Private &amp; Confidential | All Rights Reserved </a:t>
            </a:r>
            <a:endParaRPr lang="en-US" sz="800" i="1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135772" y="6630055"/>
            <a:ext cx="11894401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/>
              <a:t> 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523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30" r:id="rId2"/>
    <p:sldLayoutId id="214748372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14350" indent="-514350" algn="l" defTabSz="914400" rtl="0" eaLnBrk="1" latinLnBrk="0" hangingPunct="1">
        <a:lnSpc>
          <a:spcPct val="90000"/>
        </a:lnSpc>
        <a:spcBef>
          <a:spcPts val="1000"/>
        </a:spcBef>
        <a:buFontTx/>
        <a:buBlip>
          <a:blip r:embed="rId5"/>
        </a:buBlip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914400" indent="-4572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5"/>
        </a:buBlip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371600" indent="-4572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5"/>
        </a:buBlip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714500" indent="-3429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171700" indent="-3429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5"/>
        </a:buBlip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0"/>
          <p:cNvSpPr txBox="1"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F2F2F"/>
              </a:buClr>
              <a:buSzPts val="3000"/>
              <a:buFont typeface="Arial"/>
              <a:buNone/>
              <a:defRPr sz="3000" b="1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 dirty="0"/>
          </a:p>
        </p:txBody>
      </p:sp>
      <p:sp>
        <p:nvSpPr>
          <p:cNvPr id="11" name="Google Shape;11;p30"/>
          <p:cNvSpPr txBox="1"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82825" tIns="91400" rIns="182825" bIns="91400" anchor="t" anchorCtr="0">
            <a:normAutofit/>
          </a:bodyPr>
          <a:lstStyle>
            <a:lvl1pPr marL="457200" marR="0" lvl="0" indent="-3810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F2F2F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2F2F2F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rgbClr val="2F2F2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30"/>
          <p:cNvSpPr txBox="1"/>
          <p:nvPr/>
        </p:nvSpPr>
        <p:spPr>
          <a:xfrm>
            <a:off x="11558095" y="6630055"/>
            <a:ext cx="472077" cy="236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5700" tIns="22850" rIns="45700" bIns="2285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rgbClr val="6D7783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 i="0" u="none" strike="noStrike" cap="none" dirty="0">
              <a:solidFill>
                <a:srgbClr val="6D7783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3" name="Google Shape;13;p30"/>
          <p:cNvSpPr/>
          <p:nvPr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  <a:gs pos="100000">
                <a:schemeClr val="accent3"/>
              </a:gs>
            </a:gsLst>
            <a:lin ang="27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900" b="0" i="0" u="none" strike="noStrike" cap="none" dirty="0">
              <a:solidFill>
                <a:schemeClr val="lt1"/>
              </a:solidFill>
              <a:latin typeface="Nunito Sans ExtraLight"/>
              <a:ea typeface="Nunito Sans ExtraLight"/>
              <a:cs typeface="Nunito Sans ExtraLight"/>
              <a:sym typeface="Nunito Sans ExtraLight"/>
            </a:endParaRPr>
          </a:p>
        </p:txBody>
      </p:sp>
      <p:sp>
        <p:nvSpPr>
          <p:cNvPr id="6" name="Rectangle 5"/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198694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93" r:id="rId1"/>
    <p:sldLayoutId id="2147483794" r:id="rId2"/>
    <p:sldLayoutId id="2147483795" r:id="rId3"/>
    <p:sldLayoutId id="2147483796" r:id="rId4"/>
    <p:sldLayoutId id="2147483797" r:id="rId5"/>
    <p:sldLayoutId id="2147483798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  <p:sldLayoutId id="2147483813" r:id="rId21"/>
    <p:sldLayoutId id="2147483814" r:id="rId22"/>
    <p:sldLayoutId id="2147483815" r:id="rId23"/>
    <p:sldLayoutId id="2147483816" r:id="rId24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>
          <p15:clr>
            <a:srgbClr val="A4A3A4"/>
          </p15:clr>
        </p15:guide>
        <p15:guide id="2" pos="958">
          <p15:clr>
            <a:srgbClr val="A4A3A4"/>
          </p15:clr>
        </p15:guide>
        <p15:guide id="3" pos="14398">
          <p15:clr>
            <a:srgbClr val="A4A3A4"/>
          </p15:clr>
        </p15:guide>
        <p15:guide id="4" orient="horz" pos="8160">
          <p15:clr>
            <a:srgbClr val="A4A3A4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08141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  <p:sldLayoutId id="2147483830" r:id="rId13"/>
    <p:sldLayoutId id="2147483831" r:id="rId14"/>
    <p:sldLayoutId id="2147483832" r:id="rId15"/>
    <p:sldLayoutId id="2147483833" r:id="rId16"/>
    <p:sldLayoutId id="2147483834" r:id="rId17"/>
    <p:sldLayoutId id="2147483835" r:id="rId18"/>
    <p:sldLayoutId id="2147483836" r:id="rId19"/>
    <p:sldLayoutId id="2147483837" r:id="rId20"/>
    <p:sldLayoutId id="2147483838" r:id="rId21"/>
    <p:sldLayoutId id="2147483839" r:id="rId22"/>
    <p:sldLayoutId id="2147483840" r:id="rId23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lang="en-US" sz="3000" b="1" i="0" kern="1200">
          <a:solidFill>
            <a:schemeClr val="tx1">
              <a:lumMod val="75000"/>
            </a:schemeClr>
          </a:solidFill>
          <a:latin typeface="+mn-lt"/>
          <a:ea typeface="Open Sans Light" panose="020B0306030504020204" pitchFamily="34" charset="0"/>
          <a:cs typeface="Poppins" pitchFamily="2" charset="77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Tx/>
        <a:buBlip>
          <a:blip r:embed="rId25"/>
        </a:buBlip>
        <a:defRPr lang="en-US" sz="24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5"/>
        </a:buBlip>
        <a:defRPr lang="en-US" sz="20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5"/>
        </a:buBlip>
        <a:defRPr lang="en-US" sz="18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5"/>
        </a:buBlip>
        <a:defRPr lang="en-US" sz="16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5"/>
        </a:buBlip>
        <a:defRPr lang="en-US" sz="1600" b="0" i="0" kern="1200" dirty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>
          <p15:clr>
            <a:srgbClr val="A4A3A4"/>
          </p15:clr>
        </p15:guide>
        <p15:guide id="2" pos="958">
          <p15:clr>
            <a:srgbClr val="A4A3A4"/>
          </p15:clr>
        </p15:guide>
        <p15:guide id="3" pos="14398">
          <p15:clr>
            <a:srgbClr val="A4A3A4"/>
          </p15:clr>
        </p15:guide>
        <p15:guide id="4" orient="horz" pos="8160">
          <p15:clr>
            <a:srgbClr val="A4A3A4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3939068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7" r:id="rId1"/>
    <p:sldLayoutId id="2147483858" r:id="rId2"/>
    <p:sldLayoutId id="2147483859" r:id="rId3"/>
    <p:sldLayoutId id="2147483860" r:id="rId4"/>
    <p:sldLayoutId id="2147483861" r:id="rId5"/>
    <p:sldLayoutId id="2147483862" r:id="rId6"/>
    <p:sldLayoutId id="2147483863" r:id="rId7"/>
    <p:sldLayoutId id="2147483864" r:id="rId8"/>
    <p:sldLayoutId id="2147483865" r:id="rId9"/>
    <p:sldLayoutId id="2147483866" r:id="rId10"/>
    <p:sldLayoutId id="2147483867" r:id="rId11"/>
    <p:sldLayoutId id="2147483868" r:id="rId12"/>
    <p:sldLayoutId id="2147483869" r:id="rId13"/>
    <p:sldLayoutId id="2147483870" r:id="rId14"/>
    <p:sldLayoutId id="2147483871" r:id="rId15"/>
    <p:sldLayoutId id="2147483872" r:id="rId16"/>
    <p:sldLayoutId id="2147483873" r:id="rId17"/>
    <p:sldLayoutId id="2147483874" r:id="rId18"/>
    <p:sldLayoutId id="2147483875" r:id="rId19"/>
    <p:sldLayoutId id="2147483876" r:id="rId20"/>
    <p:sldLayoutId id="2147483877" r:id="rId21"/>
    <p:sldLayoutId id="2147483878" r:id="rId22"/>
    <p:sldLayoutId id="2147483879" r:id="rId23"/>
    <p:sldLayoutId id="2147483880" r:id="rId24"/>
    <p:sldLayoutId id="2147483881" r:id="rId25"/>
    <p:sldLayoutId id="2147483882" r:id="rId26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lang="en-US" sz="3000" b="1" i="0" kern="1200">
          <a:solidFill>
            <a:schemeClr val="tx1">
              <a:lumMod val="75000"/>
            </a:schemeClr>
          </a:solidFill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Tx/>
        <a:buBlip>
          <a:blip r:embed="rId28"/>
        </a:buBlip>
        <a:defRPr lang="en-US" sz="2400" b="0" i="0" kern="1200" dirty="0" smtClean="0">
          <a:solidFill>
            <a:schemeClr val="tx1">
              <a:lumMod val="75000"/>
            </a:schemeClr>
          </a:solidFill>
          <a:effectLst/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lang="en-US" sz="2000" b="0" i="0" kern="1200" dirty="0" smtClean="0">
          <a:solidFill>
            <a:schemeClr val="tx1">
              <a:lumMod val="75000"/>
            </a:schemeClr>
          </a:solidFill>
          <a:effectLst/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lang="en-US" sz="1800" b="0" i="0" kern="1200" dirty="0" smtClean="0">
          <a:solidFill>
            <a:schemeClr val="tx1">
              <a:lumMod val="75000"/>
            </a:schemeClr>
          </a:solidFill>
          <a:effectLst/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lang="en-US" sz="1600" b="0" i="0" kern="1200" dirty="0" smtClean="0">
          <a:solidFill>
            <a:schemeClr val="tx1">
              <a:lumMod val="75000"/>
            </a:schemeClr>
          </a:solidFill>
          <a:effectLst/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8"/>
        </a:buBlip>
        <a:defRPr lang="en-US" sz="1600" b="0" i="0" kern="1200" dirty="0">
          <a:solidFill>
            <a:schemeClr val="tx1">
              <a:lumMod val="75000"/>
            </a:schemeClr>
          </a:solidFill>
          <a:effectLst/>
          <a:latin typeface="Century Gothic" panose="020B0502020202020204" pitchFamily="34" charset="0"/>
          <a:ea typeface="Century Gothic" panose="020B0502020202020204" pitchFamily="34" charset="0"/>
          <a:cs typeface="Century Gothic" panose="020B0502020202020204" pitchFamily="34" charset="0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>
          <p15:clr>
            <a:srgbClr val="A4A3A4"/>
          </p15:clr>
        </p15:guide>
        <p15:guide id="2" pos="958">
          <p15:clr>
            <a:srgbClr val="A4A3A4"/>
          </p15:clr>
        </p15:guide>
        <p15:guide id="3" pos="14398">
          <p15:clr>
            <a:srgbClr val="A4A3A4"/>
          </p15:clr>
        </p15:guide>
        <p15:guide id="4" orient="horz" pos="8160">
          <p15:clr>
            <a:srgbClr val="A4A3A4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2DE3CF3-6EBD-4D43-8723-D30C9B448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9F5694-86FD-A248-975C-A3616DE5B20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55F3AE-C227-0644-A4F0-B186D06677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F7F47DCF-47FD-8A4A-8ECB-10147328D71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713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4" r:id="rId1"/>
    <p:sldLayoutId id="2147483885" r:id="rId2"/>
    <p:sldLayoutId id="2147483886" r:id="rId3"/>
    <p:sldLayoutId id="2147483887" r:id="rId4"/>
    <p:sldLayoutId id="2147483888" r:id="rId5"/>
    <p:sldLayoutId id="2147483889" r:id="rId6"/>
    <p:sldLayoutId id="2147483890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923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>
              <a:lumMod val="75000"/>
              <a:lumOff val="25000"/>
            </a:schemeClr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11587" y="145322"/>
            <a:ext cx="11540271" cy="725117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1954" y="1095864"/>
            <a:ext cx="11329904" cy="4351338"/>
          </a:xfrm>
          <a:prstGeom prst="rect">
            <a:avLst/>
          </a:prstGeom>
        </p:spPr>
        <p:txBody>
          <a:bodyPr vert="horz" lIns="182843" tIns="91422" rIns="182843" bIns="91422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Slide Number Placeholder 3"/>
          <p:cNvSpPr txBox="1">
            <a:spLocks/>
          </p:cNvSpPr>
          <p:nvPr userDrawn="1"/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45720" tIns="22860" rIns="45720" bIns="22860" rtlCol="0" anchor="ctr"/>
          <a:lstStyle>
            <a:defPPr>
              <a:defRPr lang="en-US"/>
            </a:defPPr>
            <a:lvl1pPr marL="0" algn="r" defTabSz="1828434" rtl="0" eaLnBrk="1" latinLnBrk="0" hangingPunct="1">
              <a:defRPr sz="16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91421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28434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742651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3656868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571086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485303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399520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313737" algn="l" defTabSz="1828434" rtl="0" eaLnBrk="1" latinLnBrk="0" hangingPunct="1"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D0C867F-AF4E-8041-ABEB-74F118578DA9}"/>
              </a:ext>
            </a:extLst>
          </p:cNvPr>
          <p:cNvSpPr/>
          <p:nvPr userDrawn="1"/>
        </p:nvSpPr>
        <p:spPr>
          <a:xfrm>
            <a:off x="0" y="0"/>
            <a:ext cx="278829" cy="6858000"/>
          </a:xfrm>
          <a:prstGeom prst="rect">
            <a:avLst/>
          </a:prstGeom>
          <a:gradFill>
            <a:gsLst>
              <a:gs pos="0">
                <a:schemeClr val="accent1"/>
              </a:gs>
              <a:gs pos="50000">
                <a:schemeClr val="accent2"/>
              </a:gs>
              <a:gs pos="99000">
                <a:schemeClr val="accent3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dirty="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839840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  <p:sldLayoutId id="2147483912" r:id="rId14"/>
    <p:sldLayoutId id="2147483913" r:id="rId15"/>
    <p:sldLayoutId id="2147483914" r:id="rId16"/>
    <p:sldLayoutId id="2147483915" r:id="rId17"/>
    <p:sldLayoutId id="2147483916" r:id="rId18"/>
    <p:sldLayoutId id="2147483917" r:id="rId19"/>
    <p:sldLayoutId id="2147483918" r:id="rId20"/>
    <p:sldLayoutId id="2147483919" r:id="rId21"/>
  </p:sldLayoutIdLst>
  <p:hf hdr="0" ftr="0" dt="0"/>
  <p:txStyles>
    <p:titleStyle>
      <a:lvl1pPr algn="l" defTabSz="914217" rtl="0" eaLnBrk="1" latinLnBrk="0" hangingPunct="1">
        <a:lnSpc>
          <a:spcPct val="90000"/>
        </a:lnSpc>
        <a:spcBef>
          <a:spcPct val="0"/>
        </a:spcBef>
        <a:buNone/>
        <a:defRPr lang="en-US" sz="3000" b="1" i="0" kern="1200">
          <a:solidFill>
            <a:schemeClr val="tx1">
              <a:lumMod val="75000"/>
            </a:schemeClr>
          </a:solidFill>
          <a:latin typeface="+mn-lt"/>
          <a:ea typeface="Open Sans Light" panose="020B0306030504020204" pitchFamily="34" charset="0"/>
          <a:cs typeface="Poppins" pitchFamily="2" charset="77"/>
        </a:defRPr>
      </a:lvl1pPr>
    </p:titleStyle>
    <p:bodyStyle>
      <a:lvl1pPr marL="228555" indent="-228555" algn="l" defTabSz="914217" rtl="0" eaLnBrk="1" latinLnBrk="0" hangingPunct="1">
        <a:lnSpc>
          <a:spcPct val="90000"/>
        </a:lnSpc>
        <a:spcBef>
          <a:spcPts val="1000"/>
        </a:spcBef>
        <a:buFontTx/>
        <a:buBlip>
          <a:blip r:embed="rId23"/>
        </a:buBlip>
        <a:defRPr lang="en-US" sz="24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1pPr>
      <a:lvl2pPr marL="685663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3"/>
        </a:buBlip>
        <a:defRPr lang="en-US" sz="20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2pPr>
      <a:lvl3pPr marL="1142772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3"/>
        </a:buBlip>
        <a:defRPr lang="en-US" sz="18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3pPr>
      <a:lvl4pPr marL="1599880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3"/>
        </a:buBlip>
        <a:defRPr lang="en-US" sz="1600" b="0" i="0" kern="1200" dirty="0" smtClean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4pPr>
      <a:lvl5pPr marL="2056989" indent="-228555" algn="l" defTabSz="914217" rtl="0" eaLnBrk="1" latinLnBrk="0" hangingPunct="1">
        <a:lnSpc>
          <a:spcPct val="90000"/>
        </a:lnSpc>
        <a:spcBef>
          <a:spcPts val="500"/>
        </a:spcBef>
        <a:buFontTx/>
        <a:buBlip>
          <a:blip r:embed="rId23"/>
        </a:buBlip>
        <a:defRPr lang="en-US" sz="1600" b="0" i="0" kern="1200" dirty="0">
          <a:solidFill>
            <a:schemeClr val="tx1">
              <a:lumMod val="75000"/>
            </a:schemeClr>
          </a:solidFill>
          <a:effectLst/>
          <a:latin typeface="+mn-lt"/>
          <a:ea typeface="Open Sans Light" panose="020B0306030504020204" pitchFamily="34" charset="0"/>
          <a:cs typeface="Open Sans" charset="0"/>
        </a:defRPr>
      </a:lvl5pPr>
      <a:lvl6pPr marL="2514097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06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14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23" indent="-228555" algn="l" defTabSz="91421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17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26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34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43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52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60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69" algn="l" defTabSz="9142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>
          <p15:clr>
            <a:srgbClr val="A4A3A4"/>
          </p15:clr>
        </p15:guide>
        <p15:guide id="2" pos="958">
          <p15:clr>
            <a:srgbClr val="A4A3A4"/>
          </p15:clr>
        </p15:guide>
        <p15:guide id="3" pos="14398">
          <p15:clr>
            <a:srgbClr val="A4A3A4"/>
          </p15:clr>
        </p15:guide>
        <p15:guide id="4" orient="horz" pos="8160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4.xml"/><Relationship Id="rId6" Type="http://schemas.openxmlformats.org/officeDocument/2006/relationships/image" Target="../media/image53.svg"/><Relationship Id="rId5" Type="http://schemas.openxmlformats.org/officeDocument/2006/relationships/image" Target="../media/image52.png"/><Relationship Id="rId4" Type="http://schemas.openxmlformats.org/officeDocument/2006/relationships/image" Target="../media/image51.sv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64.png"/><Relationship Id="rId18" Type="http://schemas.openxmlformats.org/officeDocument/2006/relationships/image" Target="../media/image69.jpeg"/><Relationship Id="rId26" Type="http://schemas.openxmlformats.org/officeDocument/2006/relationships/image" Target="../media/image76.png"/><Relationship Id="rId39" Type="http://schemas.openxmlformats.org/officeDocument/2006/relationships/image" Target="../media/image89.jpeg"/><Relationship Id="rId21" Type="http://schemas.openxmlformats.org/officeDocument/2006/relationships/image" Target="../media/image71.jpeg"/><Relationship Id="rId34" Type="http://schemas.openxmlformats.org/officeDocument/2006/relationships/image" Target="../media/image84.png"/><Relationship Id="rId42" Type="http://schemas.openxmlformats.org/officeDocument/2006/relationships/image" Target="../media/image92.jpe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67.jpeg"/><Relationship Id="rId20" Type="http://schemas.openxmlformats.org/officeDocument/2006/relationships/hyperlink" Target="https://wko.at/aussenwirtschaft" TargetMode="External"/><Relationship Id="rId29" Type="http://schemas.openxmlformats.org/officeDocument/2006/relationships/image" Target="../media/image79.png"/><Relationship Id="rId41" Type="http://schemas.openxmlformats.org/officeDocument/2006/relationships/image" Target="../media/image91.jpeg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57.svg"/><Relationship Id="rId11" Type="http://schemas.openxmlformats.org/officeDocument/2006/relationships/image" Target="../media/image62.png"/><Relationship Id="rId24" Type="http://schemas.openxmlformats.org/officeDocument/2006/relationships/image" Target="../media/image74.png"/><Relationship Id="rId32" Type="http://schemas.openxmlformats.org/officeDocument/2006/relationships/image" Target="../media/image82.jpeg"/><Relationship Id="rId37" Type="http://schemas.openxmlformats.org/officeDocument/2006/relationships/image" Target="../media/image87.jpeg"/><Relationship Id="rId40" Type="http://schemas.openxmlformats.org/officeDocument/2006/relationships/image" Target="../media/image90.png"/><Relationship Id="rId5" Type="http://schemas.openxmlformats.org/officeDocument/2006/relationships/image" Target="../media/image56.png"/><Relationship Id="rId15" Type="http://schemas.openxmlformats.org/officeDocument/2006/relationships/image" Target="../media/image66.png"/><Relationship Id="rId23" Type="http://schemas.openxmlformats.org/officeDocument/2006/relationships/image" Target="../media/image73.png"/><Relationship Id="rId28" Type="http://schemas.openxmlformats.org/officeDocument/2006/relationships/image" Target="../media/image78.jpeg"/><Relationship Id="rId36" Type="http://schemas.openxmlformats.org/officeDocument/2006/relationships/image" Target="../media/image86.png"/><Relationship Id="rId10" Type="http://schemas.openxmlformats.org/officeDocument/2006/relationships/image" Target="../media/image61.png"/><Relationship Id="rId19" Type="http://schemas.openxmlformats.org/officeDocument/2006/relationships/image" Target="../media/image70.jpeg"/><Relationship Id="rId31" Type="http://schemas.openxmlformats.org/officeDocument/2006/relationships/image" Target="../media/image81.png"/><Relationship Id="rId4" Type="http://schemas.openxmlformats.org/officeDocument/2006/relationships/image" Target="../media/image55.svg"/><Relationship Id="rId9" Type="http://schemas.openxmlformats.org/officeDocument/2006/relationships/image" Target="../media/image60.png"/><Relationship Id="rId14" Type="http://schemas.openxmlformats.org/officeDocument/2006/relationships/image" Target="../media/image65.jpeg"/><Relationship Id="rId22" Type="http://schemas.openxmlformats.org/officeDocument/2006/relationships/image" Target="../media/image72.png"/><Relationship Id="rId27" Type="http://schemas.openxmlformats.org/officeDocument/2006/relationships/image" Target="../media/image77.png"/><Relationship Id="rId30" Type="http://schemas.openxmlformats.org/officeDocument/2006/relationships/image" Target="../media/image80.png"/><Relationship Id="rId35" Type="http://schemas.openxmlformats.org/officeDocument/2006/relationships/image" Target="../media/image85.png"/><Relationship Id="rId8" Type="http://schemas.openxmlformats.org/officeDocument/2006/relationships/image" Target="../media/image59.svg"/><Relationship Id="rId3" Type="http://schemas.openxmlformats.org/officeDocument/2006/relationships/image" Target="../media/image54.png"/><Relationship Id="rId12" Type="http://schemas.openxmlformats.org/officeDocument/2006/relationships/image" Target="../media/image63.png"/><Relationship Id="rId17" Type="http://schemas.openxmlformats.org/officeDocument/2006/relationships/image" Target="../media/image68.jpeg"/><Relationship Id="rId25" Type="http://schemas.openxmlformats.org/officeDocument/2006/relationships/image" Target="../media/image75.png"/><Relationship Id="rId33" Type="http://schemas.openxmlformats.org/officeDocument/2006/relationships/image" Target="../media/image83.jpeg"/><Relationship Id="rId38" Type="http://schemas.openxmlformats.org/officeDocument/2006/relationships/image" Target="../media/image8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3" Type="http://schemas.openxmlformats.org/officeDocument/2006/relationships/image" Target="../media/image58.png"/><Relationship Id="rId7" Type="http://schemas.openxmlformats.org/officeDocument/2006/relationships/image" Target="../media/image95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4.xml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59.sv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2.jpeg"/><Relationship Id="rId13" Type="http://schemas.openxmlformats.org/officeDocument/2006/relationships/image" Target="../media/image107.jpeg"/><Relationship Id="rId18" Type="http://schemas.openxmlformats.org/officeDocument/2006/relationships/image" Target="../media/image112.jpeg"/><Relationship Id="rId3" Type="http://schemas.openxmlformats.org/officeDocument/2006/relationships/image" Target="../media/image97.jpeg"/><Relationship Id="rId7" Type="http://schemas.openxmlformats.org/officeDocument/2006/relationships/image" Target="../media/image101.jpeg"/><Relationship Id="rId12" Type="http://schemas.openxmlformats.org/officeDocument/2006/relationships/image" Target="../media/image106.jpeg"/><Relationship Id="rId17" Type="http://schemas.openxmlformats.org/officeDocument/2006/relationships/image" Target="../media/image111.jpeg"/><Relationship Id="rId2" Type="http://schemas.openxmlformats.org/officeDocument/2006/relationships/notesSlide" Target="../notesSlides/notesSlide12.xml"/><Relationship Id="rId16" Type="http://schemas.openxmlformats.org/officeDocument/2006/relationships/image" Target="../media/image110.jpeg"/><Relationship Id="rId20" Type="http://schemas.openxmlformats.org/officeDocument/2006/relationships/image" Target="../media/image114.jpg"/><Relationship Id="rId1" Type="http://schemas.openxmlformats.org/officeDocument/2006/relationships/slideLayout" Target="../slideLayouts/slideLayout124.xml"/><Relationship Id="rId6" Type="http://schemas.openxmlformats.org/officeDocument/2006/relationships/image" Target="../media/image100.jpeg"/><Relationship Id="rId11" Type="http://schemas.openxmlformats.org/officeDocument/2006/relationships/image" Target="../media/image105.jpg"/><Relationship Id="rId5" Type="http://schemas.openxmlformats.org/officeDocument/2006/relationships/image" Target="../media/image99.jpeg"/><Relationship Id="rId15" Type="http://schemas.openxmlformats.org/officeDocument/2006/relationships/image" Target="../media/image109.jpeg"/><Relationship Id="rId10" Type="http://schemas.openxmlformats.org/officeDocument/2006/relationships/image" Target="../media/image104.jpeg"/><Relationship Id="rId19" Type="http://schemas.openxmlformats.org/officeDocument/2006/relationships/image" Target="../media/image113.jpeg"/><Relationship Id="rId4" Type="http://schemas.openxmlformats.org/officeDocument/2006/relationships/image" Target="../media/image98.jpeg"/><Relationship Id="rId9" Type="http://schemas.openxmlformats.org/officeDocument/2006/relationships/image" Target="../media/image103.jpeg"/><Relationship Id="rId14" Type="http://schemas.openxmlformats.org/officeDocument/2006/relationships/image" Target="../media/image10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1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11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4.xml"/><Relationship Id="rId5" Type="http://schemas.openxmlformats.org/officeDocument/2006/relationships/image" Target="../media/image121.png"/><Relationship Id="rId4" Type="http://schemas.openxmlformats.org/officeDocument/2006/relationships/hyperlink" Target="mailto:leap@hkstp.or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7" Type="http://schemas.openxmlformats.org/officeDocument/2006/relationships/image" Target="../media/image4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9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png"/><Relationship Id="rId5" Type="http://schemas.openxmlformats.org/officeDocument/2006/relationships/image" Target="../media/image46.svg"/><Relationship Id="rId4" Type="http://schemas.openxmlformats.org/officeDocument/2006/relationships/image" Target="../media/image4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5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431163" y="2494513"/>
            <a:ext cx="8483195" cy="1001932"/>
          </a:xfrm>
        </p:spPr>
        <p:txBody>
          <a:bodyPr vert="horz" lIns="182843" tIns="91422" rIns="182843" bIns="91422" rtlCol="0" anchor="t">
            <a:noAutofit/>
          </a:bodyPr>
          <a:lstStyle/>
          <a:p>
            <a:r>
              <a:rPr kumimoji="0" lang="en-HK" sz="44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Microsoft JhengHei"/>
                <a:cs typeface="Arial"/>
              </a:rPr>
              <a:t> Acceleration Programme 2023</a:t>
            </a:r>
            <a:endParaRPr lang="en-US" dirty="0">
              <a:latin typeface="Century Gothic" panose="020B0502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HK" dirty="0">
                <a:latin typeface="Century Gothic" panose="020B0502020202020204" pitchFamily="34" charset="0"/>
              </a:rPr>
              <a:t>2023</a:t>
            </a:r>
            <a:r>
              <a:rPr lang="zh-CN" altLang="en-US" dirty="0">
                <a:latin typeface="Century Gothic" panose="020B0502020202020204" pitchFamily="34" charset="0"/>
              </a:rPr>
              <a:t>年</a:t>
            </a:r>
            <a:endParaRPr lang="en-HK" dirty="0">
              <a:latin typeface="Century Gothic" panose="020B0502020202020204" pitchFamily="34" charset="0"/>
            </a:endParaRPr>
          </a:p>
          <a:p>
            <a:r>
              <a:rPr lang="en-HK" dirty="0">
                <a:latin typeface="Century Gothic" panose="020B0502020202020204" pitchFamily="34" charset="0"/>
              </a:rPr>
              <a:t>Corporation Development Division</a:t>
            </a:r>
          </a:p>
          <a:p>
            <a:r>
              <a:rPr lang="en-US" altLang="zh-CN" dirty="0">
                <a:latin typeface="Century Gothic" panose="020B0502020202020204" pitchFamily="34" charset="0"/>
              </a:rPr>
              <a:t>Incubation &amp; Acceleration </a:t>
            </a:r>
            <a:r>
              <a:rPr lang="en-US" altLang="zh-CN" dirty="0" err="1">
                <a:latin typeface="Century Gothic" panose="020B0502020202020204" pitchFamily="34" charset="0"/>
              </a:rPr>
              <a:t>programmes</a:t>
            </a:r>
            <a:endParaRPr lang="en-HK" dirty="0">
              <a:latin typeface="Century Gothic" panose="020B0502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015B980-3CA8-4021-A20F-752088B4BD6C}"/>
              </a:ext>
            </a:extLst>
          </p:cNvPr>
          <p:cNvSpPr/>
          <p:nvPr/>
        </p:nvSpPr>
        <p:spPr>
          <a:xfrm>
            <a:off x="10023020" y="6338880"/>
            <a:ext cx="1959427" cy="382375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HK" sz="1400" dirty="0">
                <a:solidFill>
                  <a:schemeClr val="bg2"/>
                </a:solidFill>
              </a:rPr>
              <a:t>FOR INFORMATION</a:t>
            </a:r>
            <a:endParaRPr lang="en-US" sz="14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03900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85059E-67A2-F063-AB9E-C3A09BE403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Milestone based grant payment flow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1A8CFA7-0634-BC5B-0586-60D65FE64661}"/>
              </a:ext>
            </a:extLst>
          </p:cNvPr>
          <p:cNvSpPr txBox="1"/>
          <p:nvPr/>
        </p:nvSpPr>
        <p:spPr>
          <a:xfrm>
            <a:off x="437177" y="4429458"/>
            <a:ext cx="483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>
                <a:solidFill>
                  <a:schemeClr val="tx1">
                    <a:lumMod val="75000"/>
                  </a:schemeClr>
                </a:solidFill>
              </a:rPr>
              <a:t>Take example of a SaaS company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D1E1A786-5C9F-4059-742C-4B780FEDA507}"/>
              </a:ext>
            </a:extLst>
          </p:cNvPr>
          <p:cNvSpPr/>
          <p:nvPr/>
        </p:nvSpPr>
        <p:spPr>
          <a:xfrm>
            <a:off x="563747" y="4887543"/>
            <a:ext cx="1092516" cy="471412"/>
          </a:xfrm>
          <a:prstGeom prst="rect">
            <a:avLst/>
          </a:prstGeom>
          <a:solidFill>
            <a:schemeClr val="bg1">
              <a:lumMod val="6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Short Term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C317FC8E-0F4F-CA99-D3EA-F5BF0CBDC23F}"/>
              </a:ext>
            </a:extLst>
          </p:cNvPr>
          <p:cNvSpPr/>
          <p:nvPr/>
        </p:nvSpPr>
        <p:spPr>
          <a:xfrm>
            <a:off x="563747" y="5390262"/>
            <a:ext cx="1092516" cy="471412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Mid Term Target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2840A86-CDA3-1E63-78C0-2F7AAB3B0069}"/>
              </a:ext>
            </a:extLst>
          </p:cNvPr>
          <p:cNvSpPr/>
          <p:nvPr/>
        </p:nvSpPr>
        <p:spPr>
          <a:xfrm>
            <a:off x="563747" y="5914382"/>
            <a:ext cx="1092516" cy="471412"/>
          </a:xfrm>
          <a:prstGeom prst="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Long Term Target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15D57D5C-9889-6D6F-9BD5-4390023ED04E}"/>
              </a:ext>
            </a:extLst>
          </p:cNvPr>
          <p:cNvSpPr/>
          <p:nvPr/>
        </p:nvSpPr>
        <p:spPr>
          <a:xfrm>
            <a:off x="1762521" y="4888225"/>
            <a:ext cx="5241594" cy="471412"/>
          </a:xfrm>
          <a:prstGeom prst="rect">
            <a:avLst/>
          </a:prstGeom>
          <a:solidFill>
            <a:schemeClr val="bg1">
              <a:lumMod val="6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roduct – New features launch with proofed new revenue stream (upsell) 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54A9F14-4151-9365-0F19-1646419C662E}"/>
              </a:ext>
            </a:extLst>
          </p:cNvPr>
          <p:cNvSpPr/>
          <p:nvPr/>
        </p:nvSpPr>
        <p:spPr>
          <a:xfrm>
            <a:off x="1762521" y="5390944"/>
            <a:ext cx="5241594" cy="471412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Revenue - MRR reach to 500K USD (100% growth)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EBA8362-02B5-DBA5-C7F7-A24D91FBE7FA}"/>
              </a:ext>
            </a:extLst>
          </p:cNvPr>
          <p:cNvSpPr/>
          <p:nvPr/>
        </p:nvSpPr>
        <p:spPr>
          <a:xfrm>
            <a:off x="1762521" y="5915064"/>
            <a:ext cx="5241594" cy="471412"/>
          </a:xfrm>
          <a:prstGeom prst="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Customer - Annual Retention Rate hit 110%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3ED8FF2-37FB-507A-9B18-A90E9C9B8C29}"/>
              </a:ext>
            </a:extLst>
          </p:cNvPr>
          <p:cNvSpPr txBox="1"/>
          <p:nvPr/>
        </p:nvSpPr>
        <p:spPr>
          <a:xfrm>
            <a:off x="7196238" y="5358955"/>
            <a:ext cx="370420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zh-CN" sz="1100" dirty="0">
                <a:solidFill>
                  <a:srgbClr val="202124"/>
                </a:solidFill>
                <a:latin typeface="Arial Unicode MS"/>
                <a:ea typeface="inherit"/>
              </a:rPr>
              <a:t>*Sample description</a:t>
            </a:r>
            <a:r>
              <a:rPr kumimoji="0" lang="en-US" altLang="en-US" sz="1100" b="0" i="0" u="none" strike="noStrike" cap="none" normalizeH="0" baseline="0" dirty="0">
                <a:ln>
                  <a:noFill/>
                </a:ln>
                <a:solidFill>
                  <a:srgbClr val="202124"/>
                </a:solidFill>
                <a:effectLst/>
                <a:latin typeface="Arial Unicode MS"/>
                <a:ea typeface="inherit"/>
              </a:rPr>
              <a:t> is for explanatory purposes only</a:t>
            </a:r>
            <a:endParaRPr lang="en-US" altLang="en-US" sz="1000" dirty="0">
              <a:latin typeface="Arial" panose="020B0604020202020204" pitchFamily="34" charset="0"/>
              <a:ea typeface="inherit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altLang="en-US" sz="1100" dirty="0">
                <a:solidFill>
                  <a:srgbClr val="202124"/>
                </a:solidFill>
                <a:latin typeface="Arial Unicode MS"/>
              </a:rPr>
              <a:t>Milestone target detail description is requir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8A674D-A4EB-B33C-CCF7-226457292D3B}"/>
              </a:ext>
            </a:extLst>
          </p:cNvPr>
          <p:cNvSpPr/>
          <p:nvPr/>
        </p:nvSpPr>
        <p:spPr>
          <a:xfrm>
            <a:off x="1542243" y="1883563"/>
            <a:ext cx="2351990" cy="622168"/>
          </a:xfrm>
          <a:prstGeom prst="rect">
            <a:avLst/>
          </a:prstGeom>
          <a:solidFill>
            <a:schemeClr val="bg1">
              <a:lumMod val="6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hort Term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3D6F2A4-9CC5-7FDF-CC27-3DC261F4164D}"/>
              </a:ext>
            </a:extLst>
          </p:cNvPr>
          <p:cNvSpPr/>
          <p:nvPr/>
        </p:nvSpPr>
        <p:spPr>
          <a:xfrm>
            <a:off x="407884" y="2682072"/>
            <a:ext cx="6022159" cy="622168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id Term Targe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B716306-C327-B3E1-A1F5-15F75E9909A8}"/>
              </a:ext>
            </a:extLst>
          </p:cNvPr>
          <p:cNvSpPr/>
          <p:nvPr/>
        </p:nvSpPr>
        <p:spPr>
          <a:xfrm>
            <a:off x="407885" y="3480581"/>
            <a:ext cx="10362668" cy="637093"/>
          </a:xfrm>
          <a:prstGeom prst="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Long Term Targe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4CB4D827-E8F6-73BF-DCB0-C695C57C5549}"/>
              </a:ext>
            </a:extLst>
          </p:cNvPr>
          <p:cNvSpPr/>
          <p:nvPr/>
        </p:nvSpPr>
        <p:spPr>
          <a:xfrm>
            <a:off x="407885" y="1883563"/>
            <a:ext cx="893976" cy="622168"/>
          </a:xfrm>
          <a:prstGeom prst="rect">
            <a:avLst/>
          </a:prstGeom>
          <a:solidFill>
            <a:srgbClr val="92D05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dirty="0"/>
              <a:t>Probation</a:t>
            </a:r>
          </a:p>
          <a:p>
            <a:pPr algn="ctr"/>
            <a:r>
              <a:rPr lang="en-US" sz="900" dirty="0"/>
              <a:t>Perio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AF00871-E11B-E634-5137-0CB62AA84022}"/>
              </a:ext>
            </a:extLst>
          </p:cNvPr>
          <p:cNvSpPr txBox="1"/>
          <p:nvPr/>
        </p:nvSpPr>
        <p:spPr>
          <a:xfrm>
            <a:off x="407884" y="1451648"/>
            <a:ext cx="26379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300K HKD upon completio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B829B52-7F5F-ADDE-6C64-38A988BF02B8}"/>
              </a:ext>
            </a:extLst>
          </p:cNvPr>
          <p:cNvSpPr txBox="1"/>
          <p:nvPr/>
        </p:nvSpPr>
        <p:spPr>
          <a:xfrm>
            <a:off x="3609081" y="1456135"/>
            <a:ext cx="30849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900K HKD upon completio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9234260-EF73-CDCE-828A-DB078F3A8A1A}"/>
              </a:ext>
            </a:extLst>
          </p:cNvPr>
          <p:cNvSpPr txBox="1"/>
          <p:nvPr/>
        </p:nvSpPr>
        <p:spPr>
          <a:xfrm>
            <a:off x="6222859" y="2303670"/>
            <a:ext cx="252597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1.2M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HKD upon completio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707578B-43B0-3F64-1D6E-86A9B5AF2464}"/>
              </a:ext>
            </a:extLst>
          </p:cNvPr>
          <p:cNvSpPr txBox="1"/>
          <p:nvPr/>
        </p:nvSpPr>
        <p:spPr>
          <a:xfrm>
            <a:off x="9663438" y="3067592"/>
            <a:ext cx="236652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1.2M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HKD upon completion</a:t>
            </a:r>
          </a:p>
        </p:txBody>
      </p:sp>
      <p:cxnSp>
        <p:nvCxnSpPr>
          <p:cNvPr id="23" name="Connector: Elbow 22">
            <a:extLst>
              <a:ext uri="{FF2B5EF4-FFF2-40B4-BE49-F238E27FC236}">
                <a16:creationId xmlns:a16="http://schemas.microsoft.com/office/drawing/2014/main" id="{3D042DD4-FC13-4FB8-93C4-181BEC216543}"/>
              </a:ext>
            </a:extLst>
          </p:cNvPr>
          <p:cNvCxnSpPr>
            <a:stCxn id="16" idx="3"/>
          </p:cNvCxnSpPr>
          <p:nvPr/>
        </p:nvCxnSpPr>
        <p:spPr>
          <a:xfrm flipV="1">
            <a:off x="1301861" y="1804212"/>
            <a:ext cx="131975" cy="39043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or: Elbow 23">
            <a:extLst>
              <a:ext uri="{FF2B5EF4-FFF2-40B4-BE49-F238E27FC236}">
                <a16:creationId xmlns:a16="http://schemas.microsoft.com/office/drawing/2014/main" id="{C9289C4F-0DD7-5334-F164-A194106FA9DD}"/>
              </a:ext>
            </a:extLst>
          </p:cNvPr>
          <p:cNvCxnSpPr>
            <a:cxnSpLocks/>
            <a:stCxn id="3" idx="3"/>
            <a:endCxn id="19" idx="2"/>
          </p:cNvCxnSpPr>
          <p:nvPr/>
        </p:nvCxnSpPr>
        <p:spPr>
          <a:xfrm flipV="1">
            <a:off x="3894233" y="1763912"/>
            <a:ext cx="1257310" cy="430735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or: Elbow 24">
            <a:extLst>
              <a:ext uri="{FF2B5EF4-FFF2-40B4-BE49-F238E27FC236}">
                <a16:creationId xmlns:a16="http://schemas.microsoft.com/office/drawing/2014/main" id="{FCDAB2F6-C67E-A29E-5678-55C682C883BC}"/>
              </a:ext>
            </a:extLst>
          </p:cNvPr>
          <p:cNvCxnSpPr>
            <a:cxnSpLocks/>
            <a:stCxn id="12" idx="3"/>
            <a:endCxn id="21" idx="2"/>
          </p:cNvCxnSpPr>
          <p:nvPr/>
        </p:nvCxnSpPr>
        <p:spPr>
          <a:xfrm flipV="1">
            <a:off x="6430043" y="2642224"/>
            <a:ext cx="1055802" cy="35093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5AD5FCC0-3302-0224-9220-CD0549A86CE4}"/>
              </a:ext>
            </a:extLst>
          </p:cNvPr>
          <p:cNvCxnSpPr>
            <a:cxnSpLocks/>
            <a:stCxn id="15" idx="3"/>
          </p:cNvCxnSpPr>
          <p:nvPr/>
        </p:nvCxnSpPr>
        <p:spPr>
          <a:xfrm flipV="1">
            <a:off x="10770553" y="3406146"/>
            <a:ext cx="259771" cy="392982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TextBox 33">
            <a:extLst>
              <a:ext uri="{FF2B5EF4-FFF2-40B4-BE49-F238E27FC236}">
                <a16:creationId xmlns:a16="http://schemas.microsoft.com/office/drawing/2014/main" id="{AF738F57-A6FE-264F-3D99-39A57DE18E88}"/>
              </a:ext>
            </a:extLst>
          </p:cNvPr>
          <p:cNvSpPr txBox="1"/>
          <p:nvPr/>
        </p:nvSpPr>
        <p:spPr>
          <a:xfrm>
            <a:off x="311662" y="901746"/>
            <a:ext cx="838043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u="sng" dirty="0">
                <a:solidFill>
                  <a:schemeClr val="tx1">
                    <a:lumMod val="75000"/>
                  </a:schemeClr>
                </a:solidFill>
              </a:rPr>
              <a:t>No target timeline for millstone completion. Grant payment upon completion 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5FF0DFEA-947F-EE28-E1C7-F5C1DC797E3B}"/>
              </a:ext>
            </a:extLst>
          </p:cNvPr>
          <p:cNvGraphicFramePr/>
          <p:nvPr/>
        </p:nvGraphicFramePr>
        <p:xfrm>
          <a:off x="10990618" y="5412915"/>
          <a:ext cx="1201382" cy="1159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6" name="TextBox 35">
            <a:extLst>
              <a:ext uri="{FF2B5EF4-FFF2-40B4-BE49-F238E27FC236}">
                <a16:creationId xmlns:a16="http://schemas.microsoft.com/office/drawing/2014/main" id="{F653B5B7-DD56-5CFE-A1E7-475F743C7DD7}"/>
              </a:ext>
            </a:extLst>
          </p:cNvPr>
          <p:cNvSpPr txBox="1"/>
          <p:nvPr/>
        </p:nvSpPr>
        <p:spPr>
          <a:xfrm>
            <a:off x="11236751" y="6039677"/>
            <a:ext cx="7070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3.6M</a:t>
            </a:r>
          </a:p>
        </p:txBody>
      </p:sp>
    </p:spTree>
    <p:extLst>
      <p:ext uri="{BB962C8B-B14F-4D97-AF65-F5344CB8AC3E}">
        <p14:creationId xmlns:p14="http://schemas.microsoft.com/office/powerpoint/2010/main" val="5931624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639F1BB-716B-44B8-99A6-5318E5D832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8095" y="6630055"/>
            <a:ext cx="472077" cy="236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rgbClr val="6D778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0E42214-9804-481F-8BEF-BED7FC3A9430}" type="slidenum">
              <a:rPr lang="en-US" smtClean="0"/>
              <a:pPr/>
              <a:t>11</a:t>
            </a:fld>
            <a:endParaRPr lang="en-US" dirty="0"/>
          </a:p>
        </p:txBody>
      </p:sp>
      <p:pic>
        <p:nvPicPr>
          <p:cNvPr id="4" name="Picture 3" descr="A picture containing scene, laser, blur&#10;&#10;Description automatically generated">
            <a:extLst>
              <a:ext uri="{FF2B5EF4-FFF2-40B4-BE49-F238E27FC236}">
                <a16:creationId xmlns:a16="http://schemas.microsoft.com/office/drawing/2014/main" id="{9AF1839C-0F40-4547-BD24-7BD7917C45B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"/>
            <a:ext cx="12192000" cy="685800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CE8455B-AFE9-4F2B-9123-7D620215BD61}"/>
              </a:ext>
            </a:extLst>
          </p:cNvPr>
          <p:cNvSpPr txBox="1"/>
          <p:nvPr/>
        </p:nvSpPr>
        <p:spPr>
          <a:xfrm>
            <a:off x="179334" y="2345531"/>
            <a:ext cx="11833331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Valu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beyond Money</a:t>
            </a:r>
            <a:endParaRPr kumimoji="0" lang="en-HK" sz="60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1359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DCE776-11C5-1E4F-BA0C-5E6BB5BBE47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60400" y="365125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Century Gothic" panose="020B0502020202020204" pitchFamily="34" charset="0"/>
              </a:rPr>
              <a:t>Expedite Your Growth &amp; Expansio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651282D4-1AF5-FE45-917B-AF20BAADD90B}"/>
              </a:ext>
            </a:extLst>
          </p:cNvPr>
          <p:cNvGrpSpPr/>
          <p:nvPr/>
        </p:nvGrpSpPr>
        <p:grpSpPr>
          <a:xfrm>
            <a:off x="1" y="0"/>
            <a:ext cx="3094436" cy="276999"/>
            <a:chOff x="5342021" y="934170"/>
            <a:chExt cx="3429979" cy="276999"/>
          </a:xfrm>
          <a:solidFill>
            <a:schemeClr val="bg1">
              <a:lumMod val="85000"/>
            </a:schemeClr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C8DBFE3-F3AB-5443-9E0A-6A39B7AD03A6}"/>
                </a:ext>
              </a:extLst>
            </p:cNvPr>
            <p:cNvSpPr/>
            <p:nvPr/>
          </p:nvSpPr>
          <p:spPr>
            <a:xfrm>
              <a:off x="5342021" y="934170"/>
              <a:ext cx="3429979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7C154090-65F2-3F40-B4B1-F61737DCCC6D}"/>
                </a:ext>
              </a:extLst>
            </p:cNvPr>
            <p:cNvSpPr/>
            <p:nvPr/>
          </p:nvSpPr>
          <p:spPr>
            <a:xfrm>
              <a:off x="5347010" y="934170"/>
              <a:ext cx="3420000" cy="2616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Network &amp; People</a:t>
              </a:r>
              <a:endParaRPr kumimoji="0" lang="en-HK" sz="105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EFBE246-8A51-634D-B981-0E8C04F967B5}"/>
              </a:ext>
            </a:extLst>
          </p:cNvPr>
          <p:cNvGrpSpPr/>
          <p:nvPr/>
        </p:nvGrpSpPr>
        <p:grpSpPr>
          <a:xfrm>
            <a:off x="3038524" y="1"/>
            <a:ext cx="3085433" cy="276999"/>
            <a:chOff x="8774494" y="934170"/>
            <a:chExt cx="3420000" cy="276999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B90E6648-E12C-5342-BCAD-0E991A49F20C}"/>
                </a:ext>
              </a:extLst>
            </p:cNvPr>
            <p:cNvSpPr/>
            <p:nvPr/>
          </p:nvSpPr>
          <p:spPr>
            <a:xfrm>
              <a:off x="8774494" y="934170"/>
              <a:ext cx="3420000" cy="276999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856656F9-9E74-674B-8CC1-E3645EF9B00F}"/>
                </a:ext>
              </a:extLst>
            </p:cNvPr>
            <p:cNvSpPr/>
            <p:nvPr/>
          </p:nvSpPr>
          <p:spPr>
            <a:xfrm>
              <a:off x="8774494" y="934170"/>
              <a:ext cx="3420000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Expedite Growth &amp; Expansion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E805B526-D941-7C4C-9432-BED8C3E689AA}"/>
              </a:ext>
            </a:extLst>
          </p:cNvPr>
          <p:cNvGrpSpPr/>
          <p:nvPr/>
        </p:nvGrpSpPr>
        <p:grpSpPr>
          <a:xfrm>
            <a:off x="6068044" y="0"/>
            <a:ext cx="3094436" cy="276999"/>
            <a:chOff x="5338277" y="4855612"/>
            <a:chExt cx="3429979" cy="276999"/>
          </a:xfrm>
          <a:solidFill>
            <a:schemeClr val="bg1">
              <a:lumMod val="8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8A2FE14-B82F-FD43-AAFE-934F766C4D61}"/>
                </a:ext>
              </a:extLst>
            </p:cNvPr>
            <p:cNvSpPr/>
            <p:nvPr/>
          </p:nvSpPr>
          <p:spPr>
            <a:xfrm>
              <a:off x="5338277" y="4855612"/>
              <a:ext cx="3429979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40C3E91-092C-AA46-A6F2-5361968980F2}"/>
                </a:ext>
              </a:extLst>
            </p:cNvPr>
            <p:cNvSpPr/>
            <p:nvPr/>
          </p:nvSpPr>
          <p:spPr>
            <a:xfrm>
              <a:off x="5343266" y="4855613"/>
              <a:ext cx="3420000" cy="25391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Resources</a:t>
              </a:r>
              <a:endParaRPr kumimoji="0" lang="en-HK" sz="105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6BBA39E-1E9D-934B-8070-FDC5AEC3DB24}"/>
              </a:ext>
            </a:extLst>
          </p:cNvPr>
          <p:cNvGrpSpPr/>
          <p:nvPr/>
        </p:nvGrpSpPr>
        <p:grpSpPr>
          <a:xfrm>
            <a:off x="9106567" y="0"/>
            <a:ext cx="3085433" cy="276999"/>
            <a:chOff x="8767009" y="4372170"/>
            <a:chExt cx="3420000" cy="276999"/>
          </a:xfrm>
          <a:solidFill>
            <a:schemeClr val="bg1">
              <a:lumMod val="85000"/>
            </a:schemeClr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B7E14A6-3975-1F40-8633-8A8615E45488}"/>
                </a:ext>
              </a:extLst>
            </p:cNvPr>
            <p:cNvSpPr/>
            <p:nvPr/>
          </p:nvSpPr>
          <p:spPr>
            <a:xfrm>
              <a:off x="8767009" y="4372170"/>
              <a:ext cx="3420000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4320F7E-8BF4-8548-822E-7C195EB3DC93}"/>
                </a:ext>
              </a:extLst>
            </p:cNvPr>
            <p:cNvSpPr/>
            <p:nvPr/>
          </p:nvSpPr>
          <p:spPr>
            <a:xfrm>
              <a:off x="8767009" y="4372170"/>
              <a:ext cx="3420000" cy="2616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HKSTP: Your Partner &amp; Stakeholder</a:t>
              </a:r>
            </a:p>
          </p:txBody>
        </p:sp>
      </p:grpSp>
      <p:sp>
        <p:nvSpPr>
          <p:cNvPr id="51" name="Shape 255">
            <a:extLst>
              <a:ext uri="{FF2B5EF4-FFF2-40B4-BE49-F238E27FC236}">
                <a16:creationId xmlns:a16="http://schemas.microsoft.com/office/drawing/2014/main" id="{023C4719-74AA-F143-B263-0A2FD90130AD}"/>
              </a:ext>
            </a:extLst>
          </p:cNvPr>
          <p:cNvSpPr txBox="1"/>
          <p:nvPr/>
        </p:nvSpPr>
        <p:spPr>
          <a:xfrm>
            <a:off x="1411166" y="4272592"/>
            <a:ext cx="4070838" cy="2048475"/>
          </a:xfrm>
          <a:prstGeom prst="rect">
            <a:avLst/>
          </a:prstGeom>
          <a:noFill/>
        </p:spPr>
        <p:txBody>
          <a:bodyPr wrap="square" lIns="77943" tIns="38972" rIns="77943" bIns="38972">
            <a:spAutoFit/>
          </a:bodyPr>
          <a:lstStyle>
            <a:defPPr>
              <a:defRPr lang="en-US"/>
            </a:defPPr>
            <a:lvl1pPr>
              <a:defRPr sz="1600" b="1">
                <a:latin typeface="Corbel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Acceleration Team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as business advisor &amp; resource connector.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Domain experts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and business veterans to help to fuel your business growth.</a:t>
            </a:r>
            <a:endParaRPr kumimoji="0" lang="en" sz="1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Segoe UI Semibold" panose="020B0702040204020203" pitchFamily="34" charset="0"/>
              <a:sym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Industry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mentorship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system &amp; connecti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Anchor sale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– channel building &amp; scale-up and expansion in regional/ global markets.</a:t>
            </a:r>
            <a:endParaRPr kumimoji="0" lang="en" sz="1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Segoe UI Semibold" panose="020B0702040204020203" pitchFamily="34" charset="0"/>
              <a:sym typeface="Open Sans"/>
            </a:endParaRPr>
          </a:p>
        </p:txBody>
      </p:sp>
      <p:sp>
        <p:nvSpPr>
          <p:cNvPr id="52" name="Shape 255">
            <a:extLst>
              <a:ext uri="{FF2B5EF4-FFF2-40B4-BE49-F238E27FC236}">
                <a16:creationId xmlns:a16="http://schemas.microsoft.com/office/drawing/2014/main" id="{931579F5-A068-BD4F-A48F-868116DDCA32}"/>
              </a:ext>
            </a:extLst>
          </p:cNvPr>
          <p:cNvSpPr txBox="1"/>
          <p:nvPr/>
        </p:nvSpPr>
        <p:spPr>
          <a:xfrm>
            <a:off x="6879689" y="4272592"/>
            <a:ext cx="4429636" cy="2110030"/>
          </a:xfrm>
          <a:prstGeom prst="rect">
            <a:avLst/>
          </a:prstGeom>
          <a:noFill/>
        </p:spPr>
        <p:txBody>
          <a:bodyPr wrap="square" lIns="77943" tIns="38972" rIns="77943" bIns="38972">
            <a:spAutoFit/>
          </a:bodyPr>
          <a:lstStyle>
            <a:defPPr>
              <a:defRPr lang="en-US"/>
            </a:defPPr>
            <a:lvl1pPr>
              <a:defRPr sz="1600" b="1">
                <a:latin typeface="Corbel" panose="020B0503020204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altLang="zh-HK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Acceleration Team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as financial advisor. 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Get you ready and support your transaction in fund raising.</a:t>
            </a:r>
            <a:endParaRPr kumimoji="0" lang="en" sz="1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Segoe UI Semibold" panose="020B0702040204020203" pitchFamily="34" charset="0"/>
              <a:sym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Equip you with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knowledge and skills needed in next st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.  Get your team well prepared.</a:t>
            </a:r>
            <a:endParaRPr kumimoji="0" lang="en" sz="1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Segoe UI Semibold" panose="020B0702040204020203" pitchFamily="34" charset="0"/>
              <a:sym typeface="Open San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>
                <a:tab pos="2227263" algn="l"/>
              </a:tabLst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Strategy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 review on IP, corporate development and capital planning.  Corporate &amp; HR structuring.  Marketing &amp; PR.</a:t>
            </a:r>
            <a:endParaRPr kumimoji="0" lang="en" sz="11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Segoe UI Semibold" panose="020B0702040204020203" pitchFamily="34" charset="0"/>
              <a:sym typeface="Open San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167E094-D682-9C44-8CE9-E01C9938D08C}"/>
              </a:ext>
            </a:extLst>
          </p:cNvPr>
          <p:cNvSpPr/>
          <p:nvPr/>
        </p:nvSpPr>
        <p:spPr>
          <a:xfrm>
            <a:off x="1391684" y="3754695"/>
            <a:ext cx="39194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Business Development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F44DA58-355D-8448-885B-EC303C54E2A0}"/>
              </a:ext>
            </a:extLst>
          </p:cNvPr>
          <p:cNvSpPr/>
          <p:nvPr/>
        </p:nvSpPr>
        <p:spPr>
          <a:xfrm>
            <a:off x="6862979" y="3754695"/>
            <a:ext cx="37890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Segoe UI Semibold" panose="020B0702040204020203" pitchFamily="34" charset="0"/>
                <a:sym typeface="Open Sans"/>
              </a:rPr>
              <a:t>Growth Management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0AB968FB-41FF-1B46-BA2C-05ACADE91B23}"/>
              </a:ext>
            </a:extLst>
          </p:cNvPr>
          <p:cNvGrpSpPr/>
          <p:nvPr/>
        </p:nvGrpSpPr>
        <p:grpSpPr>
          <a:xfrm>
            <a:off x="7731884" y="1754351"/>
            <a:ext cx="1881963" cy="1881963"/>
            <a:chOff x="8013238" y="1746920"/>
            <a:chExt cx="1881963" cy="1881963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646ADE5-E0EE-A24D-8203-957824DCADA0}"/>
                </a:ext>
              </a:extLst>
            </p:cNvPr>
            <p:cNvSpPr/>
            <p:nvPr/>
          </p:nvSpPr>
          <p:spPr>
            <a:xfrm>
              <a:off x="8013238" y="1746920"/>
              <a:ext cx="1881963" cy="1881963"/>
            </a:xfrm>
            <a:prstGeom prst="ellipse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pic>
          <p:nvPicPr>
            <p:cNvPr id="24" name="Graphic 23" descr="Upward trend outline">
              <a:extLst>
                <a:ext uri="{FF2B5EF4-FFF2-40B4-BE49-F238E27FC236}">
                  <a16:creationId xmlns:a16="http://schemas.microsoft.com/office/drawing/2014/main" id="{CD55B244-7438-C64B-84CD-1EBAC660FB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254837" y="1985051"/>
              <a:ext cx="1398765" cy="1398765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6F0424CB-616A-9B48-AA99-BB278524A4D4}"/>
              </a:ext>
            </a:extLst>
          </p:cNvPr>
          <p:cNvGrpSpPr/>
          <p:nvPr/>
        </p:nvGrpSpPr>
        <p:grpSpPr>
          <a:xfrm>
            <a:off x="2148953" y="1722453"/>
            <a:ext cx="1881963" cy="1881963"/>
            <a:chOff x="2148953" y="1722453"/>
            <a:chExt cx="1881963" cy="1881963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4C3C0A6D-AE34-3844-9C0D-5140C63D472E}"/>
                </a:ext>
              </a:extLst>
            </p:cNvPr>
            <p:cNvSpPr/>
            <p:nvPr/>
          </p:nvSpPr>
          <p:spPr>
            <a:xfrm>
              <a:off x="2148953" y="1722453"/>
              <a:ext cx="1881963" cy="18819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pic>
          <p:nvPicPr>
            <p:cNvPr id="22" name="Graphic 21" descr="Briefcase outline">
              <a:extLst>
                <a:ext uri="{FF2B5EF4-FFF2-40B4-BE49-F238E27FC236}">
                  <a16:creationId xmlns:a16="http://schemas.microsoft.com/office/drawing/2014/main" id="{8A7A2CD9-7A59-F34F-83ED-17079C02E15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2390552" y="1995951"/>
              <a:ext cx="1398765" cy="13987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7884993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>
            <a:extLst>
              <a:ext uri="{FF2B5EF4-FFF2-40B4-BE49-F238E27FC236}">
                <a16:creationId xmlns:a16="http://schemas.microsoft.com/office/drawing/2014/main" id="{4C3C0CD6-A5CB-FB43-AA13-18147287DEFA}"/>
              </a:ext>
            </a:extLst>
          </p:cNvPr>
          <p:cNvGrpSpPr/>
          <p:nvPr/>
        </p:nvGrpSpPr>
        <p:grpSpPr>
          <a:xfrm>
            <a:off x="158462" y="2339062"/>
            <a:ext cx="11960958" cy="2063949"/>
            <a:chOff x="866194" y="1986282"/>
            <a:chExt cx="11960958" cy="2063949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DDA25AC4-C0ED-AE4E-B5C9-AF1A124229A9}"/>
                </a:ext>
              </a:extLst>
            </p:cNvPr>
            <p:cNvSpPr/>
            <p:nvPr/>
          </p:nvSpPr>
          <p:spPr>
            <a:xfrm>
              <a:off x="9800012" y="1986282"/>
              <a:ext cx="2936087" cy="2056045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C3D5C6C-3B49-5446-B1AD-C45075085680}"/>
                </a:ext>
              </a:extLst>
            </p:cNvPr>
            <p:cNvSpPr/>
            <p:nvPr/>
          </p:nvSpPr>
          <p:spPr>
            <a:xfrm>
              <a:off x="4010772" y="1994186"/>
              <a:ext cx="3128239" cy="2056045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0E84F7D-F44F-9C4E-8F0D-56B23F3C753D}"/>
                </a:ext>
              </a:extLst>
            </p:cNvPr>
            <p:cNvSpPr/>
            <p:nvPr/>
          </p:nvSpPr>
          <p:spPr>
            <a:xfrm>
              <a:off x="904813" y="1986282"/>
              <a:ext cx="3105960" cy="2056045"/>
            </a:xfrm>
            <a:prstGeom prst="rect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8" name="Graphic 57" descr="Bar graph with upward trend">
              <a:extLst>
                <a:ext uri="{FF2B5EF4-FFF2-40B4-BE49-F238E27FC236}">
                  <a16:creationId xmlns:a16="http://schemas.microsoft.com/office/drawing/2014/main" id="{B62C4E65-32CC-D549-8059-2F22571D1C4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83006" y="2113928"/>
              <a:ext cx="792000" cy="792000"/>
            </a:xfrm>
            <a:prstGeom prst="rect">
              <a:avLst/>
            </a:prstGeom>
          </p:spPr>
        </p:pic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4A73B0FF-DAB5-D248-896E-1A17974095DF}"/>
                </a:ext>
              </a:extLst>
            </p:cNvPr>
            <p:cNvSpPr/>
            <p:nvPr/>
          </p:nvSpPr>
          <p:spPr>
            <a:xfrm>
              <a:off x="1775006" y="2170160"/>
              <a:ext cx="1720782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Business Development</a:t>
              </a:r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B85CA674-BD84-6747-8899-068876C01836}"/>
                </a:ext>
              </a:extLst>
            </p:cNvPr>
            <p:cNvSpPr/>
            <p:nvPr/>
          </p:nvSpPr>
          <p:spPr>
            <a:xfrm>
              <a:off x="7253784" y="2341451"/>
              <a:ext cx="1540069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Investment</a:t>
              </a:r>
            </a:p>
          </p:txBody>
        </p:sp>
        <p:pic>
          <p:nvPicPr>
            <p:cNvPr id="64" name="Graphic 63" descr="Network">
              <a:extLst>
                <a:ext uri="{FF2B5EF4-FFF2-40B4-BE49-F238E27FC236}">
                  <a16:creationId xmlns:a16="http://schemas.microsoft.com/office/drawing/2014/main" id="{343A3581-9981-B248-8A6D-8DB5ACE9C96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132964" y="2105489"/>
              <a:ext cx="792000" cy="792000"/>
            </a:xfrm>
            <a:prstGeom prst="rect">
              <a:avLst/>
            </a:prstGeom>
          </p:spPr>
        </p:pic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4292ED14-BD6C-2A44-8B53-E8E3FACB8625}"/>
                </a:ext>
              </a:extLst>
            </p:cNvPr>
            <p:cNvSpPr/>
            <p:nvPr/>
          </p:nvSpPr>
          <p:spPr>
            <a:xfrm>
              <a:off x="10914386" y="2187105"/>
              <a:ext cx="1565595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Networking &amp; Insight</a:t>
              </a:r>
            </a:p>
          </p:txBody>
        </p:sp>
        <p:pic>
          <p:nvPicPr>
            <p:cNvPr id="66" name="Graphic 65" descr="Boardroom">
              <a:extLst>
                <a:ext uri="{FF2B5EF4-FFF2-40B4-BE49-F238E27FC236}">
                  <a16:creationId xmlns:a16="http://schemas.microsoft.com/office/drawing/2014/main" id="{1E91AC47-420A-9941-B80E-C5A8C337B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170945" y="2104777"/>
              <a:ext cx="792000" cy="792000"/>
            </a:xfrm>
            <a:prstGeom prst="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A4EF65E-7C8C-FD48-877D-1E0CE09BF996}"/>
                </a:ext>
              </a:extLst>
            </p:cNvPr>
            <p:cNvSpPr/>
            <p:nvPr/>
          </p:nvSpPr>
          <p:spPr>
            <a:xfrm>
              <a:off x="4981662" y="2207643"/>
              <a:ext cx="1614086" cy="6463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Matching &amp; Adoption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DD311C6C-8F96-B240-9E01-B4529573EBE4}"/>
                </a:ext>
              </a:extLst>
            </p:cNvPr>
            <p:cNvSpPr/>
            <p:nvPr/>
          </p:nvSpPr>
          <p:spPr>
            <a:xfrm>
              <a:off x="866194" y="2967232"/>
              <a:ext cx="3195531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HK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Regional /overseas expansio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HK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Tradeshow, training, event </a:t>
              </a:r>
              <a:r>
                <a:rPr kumimoji="0" lang="en-HK" sz="15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etc</a:t>
              </a:r>
              <a:endParaRPr kumimoji="0" lang="en-HK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endParaRP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HK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Marketing &amp; promotion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</a:rPr>
                <a:t>Channel building 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FBB70C71-329D-5F40-AF65-8A8C50A2051F}"/>
                </a:ext>
              </a:extLst>
            </p:cNvPr>
            <p:cNvSpPr/>
            <p:nvPr/>
          </p:nvSpPr>
          <p:spPr>
            <a:xfrm>
              <a:off x="10024460" y="2851815"/>
              <a:ext cx="2802692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</a:rPr>
                <a:t>Connections to industry leaders, CXO 1-on 1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</a:rPr>
                <a:t>Connection to partnership team, with 8 focus areas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FF206DD-C37C-6C49-ADAE-4AE0C9DF3B84}"/>
                </a:ext>
              </a:extLst>
            </p:cNvPr>
            <p:cNvSpPr/>
            <p:nvPr/>
          </p:nvSpPr>
          <p:spPr>
            <a:xfrm>
              <a:off x="4027482" y="2942297"/>
              <a:ext cx="2983810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Business match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Solution adoption (PSTS, PTS)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First @ SP and </a:t>
              </a:r>
              <a:r>
                <a:rPr kumimoji="0" lang="en-US" sz="15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PoC</a:t>
              </a: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 @ Smart Campus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4CB505-FFEB-1B4C-B313-10DCF7AF2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Business Development</a:t>
            </a:r>
          </a:p>
        </p:txBody>
      </p:sp>
      <p:sp>
        <p:nvSpPr>
          <p:cNvPr id="51" name="Content Placeholder 50">
            <a:extLst>
              <a:ext uri="{FF2B5EF4-FFF2-40B4-BE49-F238E27FC236}">
                <a16:creationId xmlns:a16="http://schemas.microsoft.com/office/drawing/2014/main" id="{FBD7E77E-EBC9-E947-B3A0-FF5B9E32C63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58462" y="1732447"/>
            <a:ext cx="11820178" cy="522288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en-US" sz="3000" b="1" dirty="0">
                <a:solidFill>
                  <a:srgbClr val="002060"/>
                </a:solidFill>
              </a:rPr>
              <a:t>Giving you wings to fly and accelerate your growth globally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0E84F7D-F44F-9C4E-8F0D-56B23F3C753D}"/>
              </a:ext>
            </a:extLst>
          </p:cNvPr>
          <p:cNvSpPr/>
          <p:nvPr/>
        </p:nvSpPr>
        <p:spPr>
          <a:xfrm>
            <a:off x="6253601" y="2335745"/>
            <a:ext cx="3118998" cy="2067266"/>
          </a:xfrm>
          <a:prstGeom prst="rect">
            <a:avLst/>
          </a:prstGeom>
          <a:solidFill>
            <a:srgbClr val="FF7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A73B0FF-DAB5-D248-896E-1A17974095DF}"/>
              </a:ext>
            </a:extLst>
          </p:cNvPr>
          <p:cNvSpPr/>
          <p:nvPr/>
        </p:nvSpPr>
        <p:spPr>
          <a:xfrm>
            <a:off x="7033734" y="2489143"/>
            <a:ext cx="245363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main Expert /   Professional Service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DD311C6C-8F96-B240-9E01-B4529573EBE4}"/>
              </a:ext>
            </a:extLst>
          </p:cNvPr>
          <p:cNvSpPr/>
          <p:nvPr/>
        </p:nvSpPr>
        <p:spPr>
          <a:xfrm>
            <a:off x="6252608" y="3178725"/>
            <a:ext cx="3136700" cy="12464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Domain expert to fill your gap when you grow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Professional services firms in legal, IP, IT, finance, business / technical consulting etc.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53601" y="2360283"/>
            <a:ext cx="875392" cy="875392"/>
          </a:xfrm>
          <a:prstGeom prst="rect">
            <a:avLst/>
          </a:prstGeom>
        </p:spPr>
      </p:pic>
      <p:grpSp>
        <p:nvGrpSpPr>
          <p:cNvPr id="94" name="Group 93">
            <a:extLst>
              <a:ext uri="{FF2B5EF4-FFF2-40B4-BE49-F238E27FC236}">
                <a16:creationId xmlns:a16="http://schemas.microsoft.com/office/drawing/2014/main" id="{039DF139-F54C-774D-92AD-A58B6867D851}"/>
              </a:ext>
            </a:extLst>
          </p:cNvPr>
          <p:cNvGrpSpPr/>
          <p:nvPr/>
        </p:nvGrpSpPr>
        <p:grpSpPr>
          <a:xfrm>
            <a:off x="832456" y="4715366"/>
            <a:ext cx="10472189" cy="1093842"/>
            <a:chOff x="734787" y="3396261"/>
            <a:chExt cx="10842170" cy="1370476"/>
          </a:xfrm>
        </p:grpSpPr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97382AAC-55C3-3D44-9131-39F1BC55E943}"/>
                </a:ext>
              </a:extLst>
            </p:cNvPr>
            <p:cNvGrpSpPr/>
            <p:nvPr/>
          </p:nvGrpSpPr>
          <p:grpSpPr>
            <a:xfrm>
              <a:off x="1860443" y="3396261"/>
              <a:ext cx="7049121" cy="1254572"/>
              <a:chOff x="453441" y="3133229"/>
              <a:chExt cx="6057067" cy="818682"/>
            </a:xfrm>
          </p:grpSpPr>
          <p:pic>
            <p:nvPicPr>
              <p:cNvPr id="102" name="Picture 101" descr="ttp://www.armaccelerator.com/upload/image/201702/08/0819156227.png">
                <a:extLst>
                  <a:ext uri="{FF2B5EF4-FFF2-40B4-BE49-F238E27FC236}">
                    <a16:creationId xmlns:a16="http://schemas.microsoft.com/office/drawing/2014/main" id="{957F2559-806E-F84B-BCAC-37D8ADE99E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2071" y="3198403"/>
                <a:ext cx="1080515" cy="359075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3" name="Picture 102" descr="https://lh6.googleusercontent.com/Ed-7ug_r4PYXYDpN-PMxtD8s5UqEax87X3AhdeJjO3oDnIqFTk42Hu5lwGvhGxU_mR3ZfV20MtfR2wt9JvxF4bDMzG9IsRQhS7V04ZJhtbi9ag8ggVbXLR7Ha6OKCrS5juLm3_Wj3dLyxEv33w">
                <a:extLst>
                  <a:ext uri="{FF2B5EF4-FFF2-40B4-BE49-F238E27FC236}">
                    <a16:creationId xmlns:a16="http://schemas.microsoft.com/office/drawing/2014/main" id="{14AAAB60-9E5B-964A-AE03-CB2F7AF0EDA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3699" y="3191703"/>
                <a:ext cx="1181815" cy="403127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4" name="Picture 103" descr="mage result for Link Real Estate Investment Trust">
                <a:extLst>
                  <a:ext uri="{FF2B5EF4-FFF2-40B4-BE49-F238E27FC236}">
                    <a16:creationId xmlns:a16="http://schemas.microsoft.com/office/drawing/2014/main" id="{FD07FAD8-D5BE-E84C-BC63-01DEFB807C9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223381" y="3260677"/>
                <a:ext cx="455095" cy="296801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2CCFF87A-90C6-524F-9829-D3E5769916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53441" y="3689017"/>
                <a:ext cx="807006" cy="178613"/>
              </a:xfrm>
              <a:prstGeom prst="rect">
                <a:avLst/>
              </a:prstGeom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611E6A6B-302B-EE4A-AC29-934E9CB422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79046" y="3662793"/>
                <a:ext cx="871762" cy="20851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7" name="Picture 106" descr="Image result for alibaba cloud">
                <a:extLst>
                  <a:ext uri="{FF2B5EF4-FFF2-40B4-BE49-F238E27FC236}">
                    <a16:creationId xmlns:a16="http://schemas.microsoft.com/office/drawing/2014/main" id="{D497F86D-6D64-FF42-BC79-E27C557BD9C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214776" y="3688898"/>
                <a:ext cx="1248136" cy="213827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8" name="Picture 107" descr="L:\04 GAA Items\201807 Alibaba Cloud\Promotion\Shui On Logo\Shui On Logo.jpg">
                <a:extLst>
                  <a:ext uri="{FF2B5EF4-FFF2-40B4-BE49-F238E27FC236}">
                    <a16:creationId xmlns:a16="http://schemas.microsoft.com/office/drawing/2014/main" id="{B1E1F020-AA43-F745-9DE8-F3ABD3B2DAB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60194" y="3133229"/>
                <a:ext cx="784575" cy="466431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9" name="Picture 108" descr="L:\04 GAA Items\201807 Alibaba Cloud\Promotion\Sino Logo\Sino Logo.jpeg">
                <a:extLst>
                  <a:ext uri="{FF2B5EF4-FFF2-40B4-BE49-F238E27FC236}">
                    <a16:creationId xmlns:a16="http://schemas.microsoft.com/office/drawing/2014/main" id="{D2560F15-21A2-084E-9D6A-8E61B3B534F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21860" y="3656169"/>
                <a:ext cx="788648" cy="295742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0" name="Picture 109" descr="L:\04 GAA Items\201807 Alibaba Cloud\Promotion\Kerry Propeties Logo.jpg">
                <a:extLst>
                  <a:ext uri="{FF2B5EF4-FFF2-40B4-BE49-F238E27FC236}">
                    <a16:creationId xmlns:a16="http://schemas.microsoft.com/office/drawing/2014/main" id="{1D61EB1A-FB5D-2C42-85FF-D7845215E38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557205" y="3664571"/>
                <a:ext cx="1127970" cy="238153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1" name="Shape 140" descr="Image result for elite industrial holding">
                <a:extLst>
                  <a:ext uri="{FF2B5EF4-FFF2-40B4-BE49-F238E27FC236}">
                    <a16:creationId xmlns:a16="http://schemas.microsoft.com/office/drawing/2014/main" id="{D69B6838-1B08-8246-8EAC-56C640670873}"/>
                  </a:ext>
                </a:extLst>
              </p:cNvPr>
              <p:cNvPicPr preferRelativeResize="0"/>
              <p:nvPr/>
            </p:nvPicPr>
            <p:blipFill rotWithShape="1"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970980" y="3249239"/>
                <a:ext cx="522349" cy="341378"/>
              </a:xfrm>
              <a:prstGeom prst="rect">
                <a:avLst/>
              </a:prstGeom>
            </p:spPr>
          </p:pic>
          <p:pic>
            <p:nvPicPr>
              <p:cNvPr id="112" name="Shape 130">
                <a:hlinkClick r:id="rId20"/>
                <a:extLst>
                  <a:ext uri="{FF2B5EF4-FFF2-40B4-BE49-F238E27FC236}">
                    <a16:creationId xmlns:a16="http://schemas.microsoft.com/office/drawing/2014/main" id="{BDE29D76-0FDB-A747-9ADF-5823D09EDA60}"/>
                  </a:ext>
                </a:extLst>
              </p:cNvPr>
              <p:cNvPicPr preferRelativeResize="0"/>
              <p:nvPr/>
            </p:nvPicPr>
            <p:blipFill rotWithShape="1">
              <a:blip r:embed="rId2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3434186" y="3325117"/>
                <a:ext cx="884056" cy="250949"/>
              </a:xfrm>
              <a:prstGeom prst="rect">
                <a:avLst/>
              </a:prstGeom>
            </p:spPr>
          </p:pic>
          <p:pic>
            <p:nvPicPr>
              <p:cNvPr id="113" name="Picture 112" descr="Hactl">
                <a:extLst>
                  <a:ext uri="{FF2B5EF4-FFF2-40B4-BE49-F238E27FC236}">
                    <a16:creationId xmlns:a16="http://schemas.microsoft.com/office/drawing/2014/main" id="{36E0A924-5F91-0844-9CFB-098BA4BA07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74378" y="3647487"/>
                <a:ext cx="698359" cy="222802"/>
              </a:xfrm>
              <a:prstGeom prst="rect">
                <a:avLst/>
              </a:prstGeom>
            </p:spPr>
          </p:pic>
          <p:pic>
            <p:nvPicPr>
              <p:cNvPr id="114" name="Picture 113" descr="Image result for bayer">
                <a:extLst>
                  <a:ext uri="{FF2B5EF4-FFF2-40B4-BE49-F238E27FC236}">
                    <a16:creationId xmlns:a16="http://schemas.microsoft.com/office/drawing/2014/main" id="{E4CAB5E1-7D7D-A946-88F0-0F36CDAA610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3441" y="3168596"/>
                <a:ext cx="407471" cy="407471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96" name="Picture 95">
              <a:extLst>
                <a:ext uri="{FF2B5EF4-FFF2-40B4-BE49-F238E27FC236}">
                  <a16:creationId xmlns:a16="http://schemas.microsoft.com/office/drawing/2014/main" id="{148AF936-ED3C-A845-8C29-6A98BEAD3ADD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4787" y="3431022"/>
              <a:ext cx="1007927" cy="523162"/>
            </a:xfrm>
            <a:prstGeom prst="rect">
              <a:avLst/>
            </a:prstGeom>
          </p:spPr>
        </p:pic>
        <p:pic>
          <p:nvPicPr>
            <p:cNvPr id="97" name="Picture 96">
              <a:extLst>
                <a:ext uri="{FF2B5EF4-FFF2-40B4-BE49-F238E27FC236}">
                  <a16:creationId xmlns:a16="http://schemas.microsoft.com/office/drawing/2014/main" id="{46CF9D88-6570-BF40-A95F-04D7BC08A5D6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129289" y="3571070"/>
              <a:ext cx="973155" cy="525301"/>
            </a:xfrm>
            <a:prstGeom prst="rect">
              <a:avLst/>
            </a:prstGeom>
          </p:spPr>
        </p:pic>
        <p:pic>
          <p:nvPicPr>
            <p:cNvPr id="98" name="Picture 97">
              <a:extLst>
                <a:ext uri="{FF2B5EF4-FFF2-40B4-BE49-F238E27FC236}">
                  <a16:creationId xmlns:a16="http://schemas.microsoft.com/office/drawing/2014/main" id="{1AA507BC-16FF-9947-964D-3B3491B576F6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325636" y="3591565"/>
              <a:ext cx="1251321" cy="565386"/>
            </a:xfrm>
            <a:prstGeom prst="rect">
              <a:avLst/>
            </a:prstGeom>
          </p:spPr>
        </p:pic>
        <p:pic>
          <p:nvPicPr>
            <p:cNvPr id="99" name="Picture 98">
              <a:extLst>
                <a:ext uri="{FF2B5EF4-FFF2-40B4-BE49-F238E27FC236}">
                  <a16:creationId xmlns:a16="http://schemas.microsoft.com/office/drawing/2014/main" id="{A013AA92-958A-D94D-8E0F-0AAE37818816}"/>
                </a:ext>
              </a:extLst>
            </p:cNvPr>
            <p:cNvPicPr>
              <a:picLocks noChangeAspect="1"/>
            </p:cNvPicPr>
            <p:nvPr/>
          </p:nvPicPr>
          <p:blipFill>
            <a:blip r:embed="rId2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7379" y="4021572"/>
              <a:ext cx="881953" cy="685182"/>
            </a:xfrm>
            <a:prstGeom prst="rect">
              <a:avLst/>
            </a:prstGeom>
          </p:spPr>
        </p:pic>
        <p:pic>
          <p:nvPicPr>
            <p:cNvPr id="100" name="Picture 2" descr="https://images.squarespace-cdn.com/content/v1/550161c6e4b0a3393107cb7c/1492226652657-UA7J4QRCFT0KJBRIA50G/ke17ZwdGBToddI8pDm48kPqQfq0L3n3wpHIsRapTfg8UqsxRUqqbr1mOJYKfIPR7LoDQ9mXPOjoJoqy81S2I8N_N4V1vUb5AoIIIbLZhVYxCRW4BPu10St3TBAUQYVKczo5Zn4xktlpMsMj-QlHXeMfNK6GwvtVkYEWiR8XAPyD3GfLCe_DXOSC_YcAacWL_/image-asset.jpeg?format=750w">
              <a:extLst>
                <a:ext uri="{FF2B5EF4-FFF2-40B4-BE49-F238E27FC236}">
                  <a16:creationId xmlns:a16="http://schemas.microsoft.com/office/drawing/2014/main" id="{847E59C0-30A1-024C-B056-6932CFC23DC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987136" y="3963303"/>
              <a:ext cx="1205151" cy="803434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01" name="Picture 100" descr="https://vignette.wikia.nocookie.net/disney/images/4/4c/Hong_Kong_Disneyland_logo.png/revision/latest/scale-to-width-down/516?cb=20161125152435">
              <a:extLst>
                <a:ext uri="{FF2B5EF4-FFF2-40B4-BE49-F238E27FC236}">
                  <a16:creationId xmlns:a16="http://schemas.microsoft.com/office/drawing/2014/main" id="{543FAE59-8B01-484D-AC41-9C95A5D11251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93931" y="4046792"/>
              <a:ext cx="1365656" cy="627249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F4DDF20D-3029-3F4F-9811-0011B52E6C41}"/>
              </a:ext>
            </a:extLst>
          </p:cNvPr>
          <p:cNvGrpSpPr>
            <a:grpSpLocks noChangeAspect="1"/>
          </p:cNvGrpSpPr>
          <p:nvPr/>
        </p:nvGrpSpPr>
        <p:grpSpPr>
          <a:xfrm>
            <a:off x="2379087" y="5698252"/>
            <a:ext cx="7605624" cy="1163167"/>
            <a:chOff x="1356682" y="1347512"/>
            <a:chExt cx="8258912" cy="1824160"/>
          </a:xfrm>
        </p:grpSpPr>
        <p:pic>
          <p:nvPicPr>
            <p:cNvPr id="116" name="Picture 36" descr="https://s3.amazonaws.com/xero-prac-prod-practice-advisor-directory-images/e6cc36e0-132d-480a-8421-90e1c3407007-1536587997">
              <a:extLst>
                <a:ext uri="{FF2B5EF4-FFF2-40B4-BE49-F238E27FC236}">
                  <a16:creationId xmlns:a16="http://schemas.microsoft.com/office/drawing/2014/main" id="{1A758733-76EF-F047-B982-EF334DF9110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24693" y="1350366"/>
              <a:ext cx="917973" cy="11528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7" name="Picture 4" descr="Deloitte logo">
              <a:extLst>
                <a:ext uri="{FF2B5EF4-FFF2-40B4-BE49-F238E27FC236}">
                  <a16:creationId xmlns:a16="http://schemas.microsoft.com/office/drawing/2014/main" id="{27834031-C775-154F-B64A-BD80904BA94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93185" y="1818193"/>
              <a:ext cx="1118794" cy="262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8" name="Picture 10" descr="Image result for pwc logo">
              <a:extLst>
                <a:ext uri="{FF2B5EF4-FFF2-40B4-BE49-F238E27FC236}">
                  <a16:creationId xmlns:a16="http://schemas.microsoft.com/office/drawing/2014/main" id="{9CEAED3E-C035-B74C-AF4F-0EFE280DA89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86753" y="1653260"/>
              <a:ext cx="1045441" cy="5470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" name="Picture 12" descr="Morgan, Lewis &amp; Bockius's Company logo">
              <a:extLst>
                <a:ext uri="{FF2B5EF4-FFF2-40B4-BE49-F238E27FC236}">
                  <a16:creationId xmlns:a16="http://schemas.microsoft.com/office/drawing/2014/main" id="{061621BD-3261-5D4D-9669-55C9AC2B4B5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3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13450" y="1815206"/>
              <a:ext cx="1427437" cy="2688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0" name="Picture 22" descr="Mayer Brown">
              <a:extLst>
                <a:ext uri="{FF2B5EF4-FFF2-40B4-BE49-F238E27FC236}">
                  <a16:creationId xmlns:a16="http://schemas.microsoft.com/office/drawing/2014/main" id="{AE2367CE-907A-AB42-9C28-0B43437CD8D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8304" y="2203350"/>
              <a:ext cx="771053" cy="96832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1" name="Picture 24" descr="https://i1.wp.com/hkvertical1000.org/wp-content/uploads/2017/10/Deacons-Logo.png?fit=300%2C101">
              <a:extLst>
                <a:ext uri="{FF2B5EF4-FFF2-40B4-BE49-F238E27FC236}">
                  <a16:creationId xmlns:a16="http://schemas.microsoft.com/office/drawing/2014/main" id="{F073FAA2-EAEA-EE4F-909B-937AC948E8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30406" y="1653260"/>
              <a:ext cx="985188" cy="4165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2" name="Picture 26" descr="KPMG logo">
              <a:extLst>
                <a:ext uri="{FF2B5EF4-FFF2-40B4-BE49-F238E27FC236}">
                  <a16:creationId xmlns:a16="http://schemas.microsoft.com/office/drawing/2014/main" id="{DAD68AA9-0FD7-0E4A-A1DB-531612C23AC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5730" y="1498542"/>
              <a:ext cx="1018990" cy="95976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3" name="Picture 32" descr="https://yt3.ggpht.com/a/AGF-l7_4RxYYAQcf8Pp-4_IeZ1Y1bOsVZpU-aqWhrQ=s288-c-k-c0xffffffff-no-rj-mo">
              <a:extLst>
                <a:ext uri="{FF2B5EF4-FFF2-40B4-BE49-F238E27FC236}">
                  <a16:creationId xmlns:a16="http://schemas.microsoft.com/office/drawing/2014/main" id="{3F89835D-0793-FA45-B719-2F695F880A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56682" y="1347512"/>
              <a:ext cx="683146" cy="85792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4" name="Picture 34" descr="Loeb &amp; Loeb LLP">
              <a:extLst>
                <a:ext uri="{FF2B5EF4-FFF2-40B4-BE49-F238E27FC236}">
                  <a16:creationId xmlns:a16="http://schemas.microsoft.com/office/drawing/2014/main" id="{29B83413-5D23-6740-B5E4-FCAC40B7E64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59575" y="2307877"/>
              <a:ext cx="683277" cy="719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5" name="Picture 38" descr="http://www.arounddb.com/wp-content/uploads/2017/01/TDW1-14-1436167388.jpg">
              <a:extLst>
                <a:ext uri="{FF2B5EF4-FFF2-40B4-BE49-F238E27FC236}">
                  <a16:creationId xmlns:a16="http://schemas.microsoft.com/office/drawing/2014/main" id="{D61B8D0D-CE73-5B49-9C69-9862C98E603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02881" y="2402861"/>
              <a:ext cx="1287526" cy="65828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6" name="Picture 40" descr="https://tsa.org.au/wp-content/uploads/2019/03/logo.png">
              <a:extLst>
                <a:ext uri="{FF2B5EF4-FFF2-40B4-BE49-F238E27FC236}">
                  <a16:creationId xmlns:a16="http://schemas.microsoft.com/office/drawing/2014/main" id="{19AB547D-496A-1F4A-BB8F-21B9240DE4E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3593" y="2373621"/>
              <a:ext cx="1290766" cy="6412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7" name="Picture 42" descr="Jones Day logo">
              <a:extLst>
                <a:ext uri="{FF2B5EF4-FFF2-40B4-BE49-F238E27FC236}">
                  <a16:creationId xmlns:a16="http://schemas.microsoft.com/office/drawing/2014/main" id="{7EEB5A9E-C8E8-5143-AADD-875EDBCDC4B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08995" y="2313477"/>
              <a:ext cx="612843" cy="7175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28" name="Picture 50" descr="http://files.leagueathletics.com/Images/Club/20908/ConyersDillPearman_Vert-4C%5b1%5d.jpg">
              <a:extLst>
                <a:ext uri="{FF2B5EF4-FFF2-40B4-BE49-F238E27FC236}">
                  <a16:creationId xmlns:a16="http://schemas.microsoft.com/office/drawing/2014/main" id="{B875F544-565C-B24B-A797-71A78D5D7B3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4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8262" y="2360137"/>
              <a:ext cx="1325505" cy="6547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8382036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Rectangle 71">
            <a:extLst>
              <a:ext uri="{FF2B5EF4-FFF2-40B4-BE49-F238E27FC236}">
                <a16:creationId xmlns:a16="http://schemas.microsoft.com/office/drawing/2014/main" id="{30E84F7D-F44F-9C4E-8F0D-56B23F3C753D}"/>
              </a:ext>
            </a:extLst>
          </p:cNvPr>
          <p:cNvSpPr/>
          <p:nvPr/>
        </p:nvSpPr>
        <p:spPr>
          <a:xfrm>
            <a:off x="7701170" y="2537182"/>
            <a:ext cx="3161950" cy="2056045"/>
          </a:xfrm>
          <a:prstGeom prst="rect">
            <a:avLst/>
          </a:prstGeom>
          <a:solidFill>
            <a:srgbClr val="FF7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C3C0CD6-A5CB-FB43-AA13-18147287DEFA}"/>
              </a:ext>
            </a:extLst>
          </p:cNvPr>
          <p:cNvGrpSpPr/>
          <p:nvPr/>
        </p:nvGrpSpPr>
        <p:grpSpPr>
          <a:xfrm>
            <a:off x="1507721" y="2521942"/>
            <a:ext cx="9484703" cy="2063949"/>
            <a:chOff x="3663253" y="1986282"/>
            <a:chExt cx="9484703" cy="2063949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C3D5C6C-3B49-5446-B1AD-C45075085680}"/>
                </a:ext>
              </a:extLst>
            </p:cNvPr>
            <p:cNvSpPr/>
            <p:nvPr/>
          </p:nvSpPr>
          <p:spPr>
            <a:xfrm>
              <a:off x="6769214" y="1994186"/>
              <a:ext cx="3087488" cy="2056045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30E84F7D-F44F-9C4E-8F0D-56B23F3C753D}"/>
                </a:ext>
              </a:extLst>
            </p:cNvPr>
            <p:cNvSpPr/>
            <p:nvPr/>
          </p:nvSpPr>
          <p:spPr>
            <a:xfrm>
              <a:off x="3663253" y="1986282"/>
              <a:ext cx="3105960" cy="2056045"/>
            </a:xfrm>
            <a:prstGeom prst="rect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66" name="Graphic 65" descr="Boardroom">
              <a:extLst>
                <a:ext uri="{FF2B5EF4-FFF2-40B4-BE49-F238E27FC236}">
                  <a16:creationId xmlns:a16="http://schemas.microsoft.com/office/drawing/2014/main" id="{1E91AC47-420A-9941-B80E-C5A8C337B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34634" y="2153085"/>
              <a:ext cx="792000" cy="792000"/>
            </a:xfrm>
            <a:prstGeom prst="rect">
              <a:avLst/>
            </a:prstGeom>
          </p:spPr>
        </p:pic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8A4EF65E-7C8C-FD48-877D-1E0CE09BF996}"/>
                </a:ext>
              </a:extLst>
            </p:cNvPr>
            <p:cNvSpPr/>
            <p:nvPr/>
          </p:nvSpPr>
          <p:spPr>
            <a:xfrm>
              <a:off x="11026634" y="2364419"/>
              <a:ext cx="161408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+mn-cs"/>
                </a:rPr>
                <a:t>Guidance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0FF206DD-C37C-6C49-ADAE-4AE0C9DF3B84}"/>
                </a:ext>
              </a:extLst>
            </p:cNvPr>
            <p:cNvSpPr/>
            <p:nvPr/>
          </p:nvSpPr>
          <p:spPr>
            <a:xfrm>
              <a:off x="9859118" y="2962474"/>
              <a:ext cx="3288838" cy="101566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Investment pitch &amp; matching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Guidance during your fundraising process</a:t>
              </a:r>
            </a:p>
            <a:p>
              <a:pPr marL="171450" marR="0" lvl="0" indent="-1714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5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B0502020202020204" pitchFamily="34" charset="0"/>
                  <a:ea typeface="+mn-ea"/>
                  <a:cs typeface="Arial" panose="020B0604020202020204" pitchFamily="34" charset="0"/>
                  <a:sym typeface="Arial"/>
                </a:rPr>
                <a:t>Capital management strategy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634CB505-FFEB-1B4C-B313-10DCF7AF2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/>
              <a:t>Capital Management</a:t>
            </a:r>
          </a:p>
        </p:txBody>
      </p:sp>
      <p:pic>
        <p:nvPicPr>
          <p:cNvPr id="57" name="Graphic 61" descr="Money">
            <a:extLst>
              <a:ext uri="{FF2B5EF4-FFF2-40B4-BE49-F238E27FC236}">
                <a16:creationId xmlns:a16="http://schemas.microsoft.com/office/drawing/2014/main" id="{C094EAA6-8C6D-3F49-880D-A64A2764B62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914463" y="2688745"/>
            <a:ext cx="792000" cy="792000"/>
          </a:xfrm>
          <a:prstGeom prst="rect">
            <a:avLst/>
          </a:prstGeom>
        </p:spPr>
      </p:pic>
      <p:sp>
        <p:nvSpPr>
          <p:cNvPr id="59" name="Rectangle 58">
            <a:extLst>
              <a:ext uri="{FF2B5EF4-FFF2-40B4-BE49-F238E27FC236}">
                <a16:creationId xmlns:a16="http://schemas.microsoft.com/office/drawing/2014/main" id="{B85CA674-BD84-6747-8899-068876C01836}"/>
              </a:ext>
            </a:extLst>
          </p:cNvPr>
          <p:cNvSpPr/>
          <p:nvPr/>
        </p:nvSpPr>
        <p:spPr>
          <a:xfrm>
            <a:off x="2742744" y="2844808"/>
            <a:ext cx="15400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vestment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87DEEFD8-A78C-2B42-99EB-6F132272FDBB}"/>
              </a:ext>
            </a:extLst>
          </p:cNvPr>
          <p:cNvSpPr/>
          <p:nvPr/>
        </p:nvSpPr>
        <p:spPr>
          <a:xfrm>
            <a:off x="1714746" y="3506349"/>
            <a:ext cx="271260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Financial plann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HK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Capital restructuring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HK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Prepare for your Fund Raising  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2" name="Picture 61">
            <a:extLst>
              <a:ext uri="{FF2B5EF4-FFF2-40B4-BE49-F238E27FC236}">
                <a16:creationId xmlns:a16="http://schemas.microsoft.com/office/drawing/2014/main" id="{688C529D-E325-DB48-8C8F-275135B7C1D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7265" y="4951171"/>
            <a:ext cx="10757469" cy="1194359"/>
          </a:xfrm>
          <a:prstGeom prst="rect">
            <a:avLst/>
          </a:prstGeom>
        </p:spPr>
      </p:pic>
      <p:sp>
        <p:nvSpPr>
          <p:cNvPr id="65" name="Content Placeholder 50">
            <a:extLst>
              <a:ext uri="{FF2B5EF4-FFF2-40B4-BE49-F238E27FC236}">
                <a16:creationId xmlns:a16="http://schemas.microsoft.com/office/drawing/2014/main" id="{FBD7E77E-EBC9-E947-B3A0-FF5B9E32C639}"/>
              </a:ext>
            </a:extLst>
          </p:cNvPr>
          <p:cNvSpPr txBox="1">
            <a:spLocks/>
          </p:cNvSpPr>
          <p:nvPr/>
        </p:nvSpPr>
        <p:spPr>
          <a:xfrm>
            <a:off x="158462" y="1732447"/>
            <a:ext cx="11820178" cy="5222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30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Prepare your financial needs for your growth</a:t>
            </a: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B85CA674-BD84-6747-8899-068876C01836}"/>
              </a:ext>
            </a:extLst>
          </p:cNvPr>
          <p:cNvSpPr/>
          <p:nvPr/>
        </p:nvSpPr>
        <p:spPr>
          <a:xfrm>
            <a:off x="5986176" y="2933391"/>
            <a:ext cx="15400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unding</a:t>
            </a: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87DEEFD8-A78C-2B42-99EB-6F132272FDBB}"/>
              </a:ext>
            </a:extLst>
          </p:cNvPr>
          <p:cNvSpPr/>
          <p:nvPr/>
        </p:nvSpPr>
        <p:spPr>
          <a:xfrm>
            <a:off x="4861675" y="3495713"/>
            <a:ext cx="2712606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</a:rPr>
              <a:t>Connection to HKSTP funding, Short term loa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HK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Arial" panose="020B0604020202020204" pitchFamily="34" charset="0"/>
                <a:sym typeface="Arial"/>
              </a:rPr>
              <a:t>Access to government support and funding 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65811" y="2653327"/>
            <a:ext cx="792549" cy="792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76707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6166535-62A8-AF41-95F7-4E88770BFE3E}"/>
              </a:ext>
            </a:extLst>
          </p:cNvPr>
          <p:cNvGrpSpPr/>
          <p:nvPr/>
        </p:nvGrpSpPr>
        <p:grpSpPr>
          <a:xfrm>
            <a:off x="5507546" y="3358204"/>
            <a:ext cx="3353574" cy="3260634"/>
            <a:chOff x="5342021" y="0"/>
            <a:chExt cx="3429979" cy="343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8FDFBA6-BF2B-504D-824A-5844808244FB}"/>
                </a:ext>
              </a:extLst>
            </p:cNvPr>
            <p:cNvSpPr/>
            <p:nvPr/>
          </p:nvSpPr>
          <p:spPr>
            <a:xfrm>
              <a:off x="5342021" y="0"/>
              <a:ext cx="3429979" cy="3438000"/>
            </a:xfrm>
            <a:prstGeom prst="rect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19C1F73-49F5-0948-A6B8-C849FB1E724A}"/>
                </a:ext>
              </a:extLst>
            </p:cNvPr>
            <p:cNvSpPr/>
            <p:nvPr/>
          </p:nvSpPr>
          <p:spPr>
            <a:xfrm>
              <a:off x="5347010" y="934170"/>
              <a:ext cx="3420000" cy="1101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Network &amp; People</a:t>
              </a:r>
              <a:endParaRPr kumimoji="0" lang="en-HK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E09F0E-1FE3-F749-9D6E-541D9CCA7E60}"/>
              </a:ext>
            </a:extLst>
          </p:cNvPr>
          <p:cNvGrpSpPr/>
          <p:nvPr/>
        </p:nvGrpSpPr>
        <p:grpSpPr>
          <a:xfrm>
            <a:off x="8848182" y="87621"/>
            <a:ext cx="3356755" cy="3260634"/>
            <a:chOff x="8761260" y="-13877"/>
            <a:chExt cx="3433233" cy="343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0C93015-CF27-094E-966E-4EDAC33106A1}"/>
                </a:ext>
              </a:extLst>
            </p:cNvPr>
            <p:cNvSpPr/>
            <p:nvPr/>
          </p:nvSpPr>
          <p:spPr>
            <a:xfrm>
              <a:off x="8761260" y="-13877"/>
              <a:ext cx="3420000" cy="3438000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F317C81-190D-5841-B46B-79914D38BB3F}"/>
                </a:ext>
              </a:extLst>
            </p:cNvPr>
            <p:cNvSpPr/>
            <p:nvPr/>
          </p:nvSpPr>
          <p:spPr>
            <a:xfrm>
              <a:off x="8774493" y="934170"/>
              <a:ext cx="3420000" cy="1605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Expedite Growth &amp; Expans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CBDAB71-72BD-B147-9B91-555C7A56D1F6}"/>
              </a:ext>
            </a:extLst>
          </p:cNvPr>
          <p:cNvGrpSpPr/>
          <p:nvPr/>
        </p:nvGrpSpPr>
        <p:grpSpPr>
          <a:xfrm>
            <a:off x="5502669" y="87621"/>
            <a:ext cx="3353574" cy="3260634"/>
            <a:chOff x="5338277" y="3437999"/>
            <a:chExt cx="3429979" cy="3439006"/>
          </a:xfrm>
          <a:solidFill>
            <a:srgbClr val="00B050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78A0782-2B67-8641-A2BE-9A44362C3701}"/>
                </a:ext>
              </a:extLst>
            </p:cNvPr>
            <p:cNvSpPr/>
            <p:nvPr/>
          </p:nvSpPr>
          <p:spPr>
            <a:xfrm>
              <a:off x="5338277" y="3437999"/>
              <a:ext cx="3429979" cy="343900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5F189FB-5FCB-D645-BE95-C52CB24928B1}"/>
                </a:ext>
              </a:extLst>
            </p:cNvPr>
            <p:cNvSpPr/>
            <p:nvPr/>
          </p:nvSpPr>
          <p:spPr>
            <a:xfrm>
              <a:off x="5343266" y="4609391"/>
              <a:ext cx="3420000" cy="59809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Resources</a:t>
              </a:r>
              <a:endParaRPr kumimoji="0" lang="en-HK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1C33CC-2CEB-654B-8CA0-C74371B80695}"/>
              </a:ext>
            </a:extLst>
          </p:cNvPr>
          <p:cNvGrpSpPr/>
          <p:nvPr/>
        </p:nvGrpSpPr>
        <p:grpSpPr>
          <a:xfrm>
            <a:off x="8861121" y="3359427"/>
            <a:ext cx="3343817" cy="3258190"/>
            <a:chOff x="8767009" y="3438000"/>
            <a:chExt cx="3420000" cy="34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4676F4A-7222-6848-9BBC-2E88DC20BFCD}"/>
                </a:ext>
              </a:extLst>
            </p:cNvPr>
            <p:cNvSpPr/>
            <p:nvPr/>
          </p:nvSpPr>
          <p:spPr>
            <a:xfrm>
              <a:off x="8767009" y="3438000"/>
              <a:ext cx="3420000" cy="3438000"/>
            </a:xfrm>
            <a:prstGeom prst="rect">
              <a:avLst/>
            </a:prstGeom>
            <a:solidFill>
              <a:srgbClr val="1682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807F62-5EBA-0845-8AD3-D3ECA5FC267F}"/>
                </a:ext>
              </a:extLst>
            </p:cNvPr>
            <p:cNvSpPr/>
            <p:nvPr/>
          </p:nvSpPr>
          <p:spPr>
            <a:xfrm>
              <a:off x="8767009" y="4354289"/>
              <a:ext cx="3420000" cy="1605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HKSTP: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Your Partner &amp; Stakeholder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9DA4D49D-6CD4-4448-B63D-0266D9420F03}"/>
              </a:ext>
            </a:extLst>
          </p:cNvPr>
          <p:cNvSpPr/>
          <p:nvPr/>
        </p:nvSpPr>
        <p:spPr>
          <a:xfrm>
            <a:off x="754601" y="1224597"/>
            <a:ext cx="449612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We Understand You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Next-Level Needs</a:t>
            </a:r>
            <a:endParaRPr kumimoji="0" lang="en-HK" sz="5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663FC893-EB8F-4CE3-9B50-2FB3C7DC0509}"/>
              </a:ext>
            </a:extLst>
          </p:cNvPr>
          <p:cNvSpPr/>
          <p:nvPr/>
        </p:nvSpPr>
        <p:spPr>
          <a:xfrm>
            <a:off x="5512424" y="87621"/>
            <a:ext cx="6679575" cy="3270583"/>
          </a:xfrm>
          <a:prstGeom prst="rect">
            <a:avLst/>
          </a:prstGeom>
          <a:solidFill>
            <a:schemeClr val="bg1">
              <a:lumMod val="50000"/>
              <a:alpha val="8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 dirty="0"/>
          </a:p>
        </p:txBody>
      </p:sp>
    </p:spTree>
    <p:extLst>
      <p:ext uri="{BB962C8B-B14F-4D97-AF65-F5344CB8AC3E}">
        <p14:creationId xmlns:p14="http://schemas.microsoft.com/office/powerpoint/2010/main" val="39113819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>
          <a:xfrm>
            <a:off x="57846" y="1520086"/>
            <a:ext cx="12104077" cy="2679089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icrosoft JhengHei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FBD33F2-B9AF-0E4A-9EEF-C573C9767610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860400" y="365125"/>
            <a:ext cx="9739993" cy="1325563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Century Gothic" panose="020B0502020202020204" pitchFamily="34" charset="0"/>
              </a:rPr>
              <a:t>Mentors and Advisor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FF5A1EF4-8FEB-F14C-883F-EBF2590410A8}"/>
              </a:ext>
            </a:extLst>
          </p:cNvPr>
          <p:cNvGrpSpPr/>
          <p:nvPr/>
        </p:nvGrpSpPr>
        <p:grpSpPr>
          <a:xfrm>
            <a:off x="1" y="0"/>
            <a:ext cx="3094436" cy="276999"/>
            <a:chOff x="5342021" y="934170"/>
            <a:chExt cx="3429979" cy="276999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A88C1CC8-80F9-7F48-84AD-F1A27E595DA3}"/>
                </a:ext>
              </a:extLst>
            </p:cNvPr>
            <p:cNvSpPr/>
            <p:nvPr/>
          </p:nvSpPr>
          <p:spPr>
            <a:xfrm>
              <a:off x="5342021" y="934170"/>
              <a:ext cx="3429979" cy="276999"/>
            </a:xfrm>
            <a:prstGeom prst="rect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B416CF7-7E38-B84F-ACD4-890CC7F58231}"/>
                </a:ext>
              </a:extLst>
            </p:cNvPr>
            <p:cNvSpPr/>
            <p:nvPr/>
          </p:nvSpPr>
          <p:spPr>
            <a:xfrm>
              <a:off x="5347010" y="934170"/>
              <a:ext cx="3420000" cy="2616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Network &amp; People</a:t>
              </a:r>
              <a:endParaRPr kumimoji="0" lang="en-HK" sz="105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3D5B01CA-0ED9-F84B-A78F-6FA7ABC8177B}"/>
              </a:ext>
            </a:extLst>
          </p:cNvPr>
          <p:cNvGrpSpPr/>
          <p:nvPr/>
        </p:nvGrpSpPr>
        <p:grpSpPr>
          <a:xfrm>
            <a:off x="3038524" y="1"/>
            <a:ext cx="3085433" cy="276999"/>
            <a:chOff x="8774494" y="934170"/>
            <a:chExt cx="3420000" cy="276999"/>
          </a:xfrm>
          <a:solidFill>
            <a:schemeClr val="bg1">
              <a:lumMod val="85000"/>
            </a:schemeClr>
          </a:solidFill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48B98DA6-E506-C041-A905-8E5443A161F0}"/>
                </a:ext>
              </a:extLst>
            </p:cNvPr>
            <p:cNvSpPr/>
            <p:nvPr/>
          </p:nvSpPr>
          <p:spPr>
            <a:xfrm>
              <a:off x="8774494" y="934170"/>
              <a:ext cx="3420000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6C5C2AA-B023-A443-ABF6-DE1FF3075903}"/>
                </a:ext>
              </a:extLst>
            </p:cNvPr>
            <p:cNvSpPr/>
            <p:nvPr/>
          </p:nvSpPr>
          <p:spPr>
            <a:xfrm>
              <a:off x="8774494" y="934170"/>
              <a:ext cx="3420000" cy="2616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Expedite Growth &amp; Expansion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67C3FDAA-6974-1E44-9F03-63871E8F78C5}"/>
              </a:ext>
            </a:extLst>
          </p:cNvPr>
          <p:cNvGrpSpPr/>
          <p:nvPr/>
        </p:nvGrpSpPr>
        <p:grpSpPr>
          <a:xfrm>
            <a:off x="6068044" y="0"/>
            <a:ext cx="3094436" cy="276999"/>
            <a:chOff x="5338277" y="4855612"/>
            <a:chExt cx="3429979" cy="276999"/>
          </a:xfrm>
          <a:solidFill>
            <a:schemeClr val="bg1">
              <a:lumMod val="85000"/>
            </a:schemeClr>
          </a:solidFill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FAAC04-6264-6F46-8FB7-67ACDB0063FC}"/>
                </a:ext>
              </a:extLst>
            </p:cNvPr>
            <p:cNvSpPr/>
            <p:nvPr/>
          </p:nvSpPr>
          <p:spPr>
            <a:xfrm>
              <a:off x="5338277" y="4855612"/>
              <a:ext cx="3429979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7C493A-2951-424A-A146-8118DF3115B4}"/>
                </a:ext>
              </a:extLst>
            </p:cNvPr>
            <p:cNvSpPr/>
            <p:nvPr/>
          </p:nvSpPr>
          <p:spPr>
            <a:xfrm>
              <a:off x="5343266" y="4855613"/>
              <a:ext cx="3420000" cy="2616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Resources</a:t>
              </a:r>
              <a:endParaRPr kumimoji="0" lang="en-HK" sz="105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BCC65423-6A7E-7645-8C2E-2EDFE71F738E}"/>
              </a:ext>
            </a:extLst>
          </p:cNvPr>
          <p:cNvGrpSpPr/>
          <p:nvPr/>
        </p:nvGrpSpPr>
        <p:grpSpPr>
          <a:xfrm>
            <a:off x="9106567" y="0"/>
            <a:ext cx="3085433" cy="276999"/>
            <a:chOff x="8767009" y="4372170"/>
            <a:chExt cx="3420000" cy="276999"/>
          </a:xfrm>
          <a:solidFill>
            <a:schemeClr val="bg1">
              <a:lumMod val="85000"/>
            </a:schemeClr>
          </a:solidFill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2C31A734-9412-CA43-866A-A327F588EC25}"/>
                </a:ext>
              </a:extLst>
            </p:cNvPr>
            <p:cNvSpPr/>
            <p:nvPr/>
          </p:nvSpPr>
          <p:spPr>
            <a:xfrm>
              <a:off x="8767009" y="4372170"/>
              <a:ext cx="3420000" cy="27699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3F3F3F">
                    <a:lumMod val="75000"/>
                    <a:lumOff val="25000"/>
                  </a:srgbClr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3CA1201A-73BA-2243-8648-A353C9817DF2}"/>
                </a:ext>
              </a:extLst>
            </p:cNvPr>
            <p:cNvSpPr/>
            <p:nvPr/>
          </p:nvSpPr>
          <p:spPr>
            <a:xfrm>
              <a:off x="8767009" y="4372170"/>
              <a:ext cx="3420000" cy="261610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1200" cap="none" spc="0" normalizeH="0" baseline="0" noProof="0" dirty="0">
                  <a:ln>
                    <a:noFill/>
                  </a:ln>
                  <a:solidFill>
                    <a:srgbClr val="3F3F3F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HKSTP: Your Partner &amp; Stakeholder</a:t>
              </a:r>
            </a:p>
          </p:txBody>
        </p:sp>
      </p:grpSp>
      <p:pic>
        <p:nvPicPr>
          <p:cNvPr id="53" name="Picture 5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304" y="1903010"/>
            <a:ext cx="1225296" cy="1225296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0707" y="1896652"/>
            <a:ext cx="1224000" cy="1224000"/>
          </a:xfrm>
          <a:prstGeom prst="rect">
            <a:avLst/>
          </a:prstGeom>
        </p:spPr>
      </p:pic>
      <p:sp>
        <p:nvSpPr>
          <p:cNvPr id="55" name="TextBox 54"/>
          <p:cNvSpPr txBox="1"/>
          <p:nvPr/>
        </p:nvSpPr>
        <p:spPr>
          <a:xfrm>
            <a:off x="1399642" y="3129351"/>
            <a:ext cx="1266723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Henry Ch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Principal of </a:t>
            </a:r>
            <a:r>
              <a:rPr kumimoji="0" lang="en-H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Epiphani</a:t>
            </a: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and former President, Greater China of Landor Associates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18903" y="3118356"/>
            <a:ext cx="138054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Alexander Cha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o-Director of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The Mills </a:t>
            </a:r>
            <a:r>
              <a:rPr kumimoji="0" lang="en-US" altLang="zh-H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Fabrica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57" name="Picture 56" descr="xl/media/image43.jpe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804"/>
          <a:stretch/>
        </p:blipFill>
        <p:spPr>
          <a:xfrm>
            <a:off x="2793569" y="1896652"/>
            <a:ext cx="1214942" cy="1225296"/>
          </a:xfrm>
          <a:prstGeom prst="rect">
            <a:avLst/>
          </a:prstGeom>
          <a:noFill/>
        </p:spPr>
      </p:pic>
      <p:sp>
        <p:nvSpPr>
          <p:cNvPr id="58" name="TextBox 57"/>
          <p:cNvSpPr txBox="1"/>
          <p:nvPr/>
        </p:nvSpPr>
        <p:spPr>
          <a:xfrm>
            <a:off x="2669967" y="3121286"/>
            <a:ext cx="1501786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Jason Chan, J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hairm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Totaltact</a:t>
            </a: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Network and Advisory Committee Member of ITVF</a:t>
            </a:r>
          </a:p>
        </p:txBody>
      </p:sp>
      <p:pic>
        <p:nvPicPr>
          <p:cNvPr id="59" name="Picture 5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5306" y="1892410"/>
            <a:ext cx="1225296" cy="1225296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>
            <a:off x="4138084" y="3125783"/>
            <a:ext cx="126672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Toa Char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Associate Professor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Business School, CUHK, Chairman of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OpenCertHub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, Former CPMO of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yberport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61" name="Picture 6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4" t="4509" b="29598"/>
          <a:stretch/>
        </p:blipFill>
        <p:spPr>
          <a:xfrm>
            <a:off x="5460414" y="1879975"/>
            <a:ext cx="1263775" cy="1225296"/>
          </a:xfrm>
          <a:prstGeom prst="rect">
            <a:avLst/>
          </a:prstGeom>
        </p:spPr>
      </p:pic>
      <p:sp>
        <p:nvSpPr>
          <p:cNvPr id="62" name="TextBox 61"/>
          <p:cNvSpPr txBox="1"/>
          <p:nvPr/>
        </p:nvSpPr>
        <p:spPr>
          <a:xfrm>
            <a:off x="5467397" y="3137715"/>
            <a:ext cx="1266723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hoy Chi Fai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hairman &amp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o-Founder of </a:t>
            </a:r>
            <a:r>
              <a:rPr kumimoji="0" lang="en-US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Ausupreme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International Holdings Ltd (Stock Code 2031.HK)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63" name="Picture 62"/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2154" y="1876328"/>
            <a:ext cx="1224000" cy="1224000"/>
          </a:xfrm>
          <a:prstGeom prst="rect">
            <a:avLst/>
          </a:prstGeom>
        </p:spPr>
      </p:pic>
      <p:sp>
        <p:nvSpPr>
          <p:cNvPr id="64" name="TextBox 63"/>
          <p:cNvSpPr txBox="1"/>
          <p:nvPr/>
        </p:nvSpPr>
        <p:spPr>
          <a:xfrm>
            <a:off x="6812889" y="3128543"/>
            <a:ext cx="1323539" cy="11233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Prof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Joseph Koc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Adjunct Associate Professor of HKUST Business School and former Group Marketing Director of Jardine </a:t>
            </a:r>
            <a:r>
              <a:rPr kumimoji="0" lang="en-US" altLang="zh-TW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OneSolution</a:t>
            </a:r>
            <a:r>
              <a:rPr kumimoji="0" lang="en-US" altLang="zh-TW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Group</a:t>
            </a:r>
            <a:endParaRPr kumimoji="0" lang="en-AU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65" name="Picture 64"/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01467" y="1872350"/>
            <a:ext cx="1224000" cy="1224000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8136430" y="3105185"/>
            <a:ext cx="1338091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Thomas Kwa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Managing Director of Odysseus Capital Asia and former Director, Corporate Finance of PwC</a:t>
            </a:r>
            <a:endParaRPr kumimoji="0" lang="en-AU" sz="1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67" name="Picture 66" descr="xl/media/image41.jpeg"/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2114" y="1878155"/>
            <a:ext cx="1225296" cy="1225296"/>
          </a:xfrm>
          <a:prstGeom prst="rect">
            <a:avLst/>
          </a:prstGeom>
          <a:noFill/>
        </p:spPr>
      </p:pic>
      <p:sp>
        <p:nvSpPr>
          <p:cNvPr id="68" name="TextBox 67"/>
          <p:cNvSpPr txBox="1"/>
          <p:nvPr/>
        </p:nvSpPr>
        <p:spPr>
          <a:xfrm>
            <a:off x="9655972" y="3100135"/>
            <a:ext cx="1052156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Ivan Lam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irector of Strategy, ASTRI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69" name="Picture 68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84206" y="1871180"/>
            <a:ext cx="1225296" cy="1225296"/>
          </a:xfrm>
          <a:prstGeom prst="rect">
            <a:avLst/>
          </a:prstGeom>
        </p:spPr>
      </p:pic>
      <p:sp>
        <p:nvSpPr>
          <p:cNvPr id="70" name="TextBox 69"/>
          <p:cNvSpPr txBox="1"/>
          <p:nvPr/>
        </p:nvSpPr>
        <p:spPr>
          <a:xfrm>
            <a:off x="10838006" y="3107774"/>
            <a:ext cx="138054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100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Steve Lau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Founde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hina Fortune Holdings Ltd. and former Chairman of Fortune Telecom Holdings Ltd.</a:t>
            </a:r>
            <a:endParaRPr kumimoji="0" lang="en-US" altLang="zh-HK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sp>
        <p:nvSpPr>
          <p:cNvPr id="71" name="Rounded Rectangle 70"/>
          <p:cNvSpPr/>
          <p:nvPr/>
        </p:nvSpPr>
        <p:spPr>
          <a:xfrm>
            <a:off x="145512" y="4197912"/>
            <a:ext cx="12104077" cy="2615211"/>
          </a:xfrm>
          <a:prstGeom prst="roundRect">
            <a:avLst/>
          </a:prstGeom>
          <a:solidFill>
            <a:schemeClr val="accent3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Microsoft JhengHei"/>
              <a:cs typeface="+mn-cs"/>
            </a:endParaRPr>
          </a:p>
        </p:txBody>
      </p:sp>
      <p:pic>
        <p:nvPicPr>
          <p:cNvPr id="72" name="Picture 71"/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10809" y="4486612"/>
            <a:ext cx="1224000" cy="1224000"/>
          </a:xfrm>
          <a:prstGeom prst="rect">
            <a:avLst/>
          </a:prstGeom>
        </p:spPr>
      </p:pic>
      <p:sp>
        <p:nvSpPr>
          <p:cNvPr id="73" name="TextBox 72"/>
          <p:cNvSpPr txBox="1"/>
          <p:nvPr/>
        </p:nvSpPr>
        <p:spPr>
          <a:xfrm>
            <a:off x="114296" y="5733499"/>
            <a:ext cx="1324586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onald B M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Executive Communications &amp; Sales Force Development Facilitator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74" name="Picture 73" descr="xl/media/image8.jpg"/>
          <p:cNvPicPr>
            <a:picLocks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5534" y="4486612"/>
            <a:ext cx="1225296" cy="1225296"/>
          </a:xfrm>
          <a:prstGeom prst="rect">
            <a:avLst/>
          </a:prstGeom>
        </p:spPr>
      </p:pic>
      <p:sp>
        <p:nvSpPr>
          <p:cNvPr id="75" name="TextBox 74"/>
          <p:cNvSpPr txBox="1"/>
          <p:nvPr/>
        </p:nvSpPr>
        <p:spPr>
          <a:xfrm>
            <a:off x="1420006" y="5733511"/>
            <a:ext cx="143635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Timothy Ma, J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11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</a:t>
            </a: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Vice Chairman of Hong Kong General Chamber of Social Enterprise Limited and former Executive Director of Senior Citizen Home Safety Association </a:t>
            </a:r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77BF5F42-F40B-A147-9D96-1E9A2A2FCA49}"/>
              </a:ext>
            </a:extLst>
          </p:cNvPr>
          <p:cNvGrpSpPr/>
          <p:nvPr/>
        </p:nvGrpSpPr>
        <p:grpSpPr>
          <a:xfrm>
            <a:off x="2839817" y="4486535"/>
            <a:ext cx="1224000" cy="1224000"/>
            <a:chOff x="9632927" y="265805"/>
            <a:chExt cx="1224000" cy="1224000"/>
          </a:xfrm>
        </p:grpSpPr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984EC08E-F5A1-C544-8874-00E19989BF5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9632927" y="265805"/>
              <a:ext cx="1224000" cy="1224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pic>
          <p:nvPicPr>
            <p:cNvPr id="78" name="Picture 77" descr="xl/media/image21.png"/>
            <p:cNvPicPr>
              <a:picLocks noChangeAspect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19"/>
            <a:stretch/>
          </p:blipFill>
          <p:spPr>
            <a:xfrm>
              <a:off x="9632927" y="265805"/>
              <a:ext cx="1224000" cy="1224000"/>
            </a:xfrm>
            <a:prstGeom prst="rect">
              <a:avLst/>
            </a:prstGeom>
            <a:noFill/>
          </p:spPr>
        </p:pic>
      </p:grpSp>
      <p:sp>
        <p:nvSpPr>
          <p:cNvPr id="79" name="TextBox 78"/>
          <p:cNvSpPr txBox="1"/>
          <p:nvPr/>
        </p:nvSpPr>
        <p:spPr>
          <a:xfrm>
            <a:off x="2818928" y="5720836"/>
            <a:ext cx="1338091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Edward Po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hief Operating Officer of Human Health (Stock code 1419.HK)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80" name="Picture 79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960" t="-480" r="15123" b="31562"/>
          <a:stretch/>
        </p:blipFill>
        <p:spPr>
          <a:xfrm>
            <a:off x="4198555" y="4466033"/>
            <a:ext cx="1225296" cy="1207794"/>
          </a:xfrm>
          <a:prstGeom prst="rect">
            <a:avLst/>
          </a:prstGeom>
        </p:spPr>
      </p:pic>
      <p:sp>
        <p:nvSpPr>
          <p:cNvPr id="81" name="TextBox 80"/>
          <p:cNvSpPr txBox="1"/>
          <p:nvPr/>
        </p:nvSpPr>
        <p:spPr>
          <a:xfrm>
            <a:off x="4177777" y="5712451"/>
            <a:ext cx="12798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Zhang Yo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EO &amp; Founder of Inspiration Capital</a:t>
            </a:r>
            <a:endParaRPr kumimoji="0" lang="en-AU" sz="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82" name="Picture 81" descr="xl/media/image12.png"/>
          <p:cNvPicPr>
            <a:picLocks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4926" y="4466033"/>
            <a:ext cx="1225296" cy="1225296"/>
          </a:xfrm>
          <a:prstGeom prst="rect">
            <a:avLst/>
          </a:prstGeom>
        </p:spPr>
      </p:pic>
      <p:sp>
        <p:nvSpPr>
          <p:cNvPr id="83" name="TextBox 82"/>
          <p:cNvSpPr txBox="1"/>
          <p:nvPr/>
        </p:nvSpPr>
        <p:spPr>
          <a:xfrm>
            <a:off x="5439262" y="5712056"/>
            <a:ext cx="1436351" cy="10002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Charleston Si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Executive Director of MIT Hong Kong Innovation Node</a:t>
            </a: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and former Managing Director, Greater China,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Cisco System</a:t>
            </a:r>
            <a:endParaRPr kumimoji="0" lang="en-HK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sp>
        <p:nvSpPr>
          <p:cNvPr id="84" name="TextBox 83"/>
          <p:cNvSpPr txBox="1"/>
          <p:nvPr/>
        </p:nvSpPr>
        <p:spPr>
          <a:xfrm>
            <a:off x="6781410" y="5702181"/>
            <a:ext cx="1548617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Samson Tam, J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Partner of Hong Ko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</a:t>
            </a:r>
            <a:r>
              <a:rPr kumimoji="0" lang="en-H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Inno</a:t>
            </a: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Angel Fund and Chairman of Group Sense Limited (Stock Code 601.HK)</a:t>
            </a:r>
          </a:p>
        </p:txBody>
      </p:sp>
      <p:pic>
        <p:nvPicPr>
          <p:cNvPr id="85" name="Picture 84" descr="xl/media/image54.jpeg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2727" y="4461902"/>
            <a:ext cx="1224000" cy="1224000"/>
          </a:xfrm>
          <a:prstGeom prst="rect">
            <a:avLst/>
          </a:prstGeom>
          <a:noFill/>
        </p:spPr>
      </p:pic>
      <p:pic>
        <p:nvPicPr>
          <p:cNvPr id="86" name="Picture 85" descr="xl/media/image19.jpeg"/>
          <p:cNvPicPr>
            <a:picLocks noChangeAspect="1"/>
          </p:cNvPicPr>
          <p:nvPr/>
        </p:nvPicPr>
        <p:blipFill rotWithShape="1"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03900" y="4445563"/>
            <a:ext cx="1225296" cy="1225296"/>
          </a:xfrm>
          <a:prstGeom prst="rect">
            <a:avLst/>
          </a:prstGeom>
          <a:noFill/>
        </p:spPr>
      </p:pic>
      <p:sp>
        <p:nvSpPr>
          <p:cNvPr id="87" name="TextBox 86"/>
          <p:cNvSpPr txBox="1"/>
          <p:nvPr/>
        </p:nvSpPr>
        <p:spPr>
          <a:xfrm>
            <a:off x="8276644" y="5708066"/>
            <a:ext cx="1279808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Dr.</a:t>
            </a: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Miles W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Founder &amp; CE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of </a:t>
            </a:r>
            <a:r>
              <a:rPr kumimoji="0" lang="en-HK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Fano</a:t>
            </a: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Labs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88" name="Picture 87"/>
          <p:cNvPicPr>
            <a:picLocks noChangeAspect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954480" y="4453948"/>
            <a:ext cx="1224000" cy="1224000"/>
          </a:xfrm>
          <a:prstGeom prst="rect">
            <a:avLst/>
          </a:prstGeom>
        </p:spPr>
      </p:pic>
      <p:sp>
        <p:nvSpPr>
          <p:cNvPr id="89" name="TextBox 88"/>
          <p:cNvSpPr txBox="1"/>
          <p:nvPr/>
        </p:nvSpPr>
        <p:spPr>
          <a:xfrm>
            <a:off x="10948410" y="5708066"/>
            <a:ext cx="1230069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Zhu Jian </a:t>
            </a:r>
            <a:r>
              <a:rPr kumimoji="0" lang="en-US" altLang="zh-TW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Huan</a:t>
            </a:r>
            <a:endParaRPr kumimoji="0" lang="en-US" altLang="zh-TW" sz="11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VC/ PE/ start-up Advisor, former Venture Partner of IDG Capital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90" name="Picture 8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37339" y="4436349"/>
            <a:ext cx="1234510" cy="1234510"/>
          </a:xfrm>
          <a:prstGeom prst="rect">
            <a:avLst/>
          </a:prstGeom>
        </p:spPr>
      </p:pic>
      <p:sp>
        <p:nvSpPr>
          <p:cNvPr id="91" name="TextBox 90"/>
          <p:cNvSpPr txBox="1"/>
          <p:nvPr/>
        </p:nvSpPr>
        <p:spPr>
          <a:xfrm>
            <a:off x="9544280" y="5693470"/>
            <a:ext cx="1338091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1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Mr Ronald Wo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General Manager, Hong Kong and Macau</a:t>
            </a:r>
            <a:r>
              <a:rPr kumimoji="0" lang="en-HK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 </a:t>
            </a:r>
            <a:r>
              <a:rPr kumimoji="0" lang="en-HK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of Lenovo</a:t>
            </a:r>
            <a:endParaRPr kumimoji="0" lang="en-AU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81220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1CA4-48FD-44A6-A82F-7C3ADDA302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altLang="zh-CN" dirty="0"/>
              <a:t>Domain expert</a:t>
            </a:r>
            <a:endParaRPr lang="en-US" dirty="0"/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56182CAA-7429-F7A1-8D7B-3E68BB6E0C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292" y="1374592"/>
            <a:ext cx="7598103" cy="355562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F2FE6993-7619-792F-91F1-7C50C1E869A8}"/>
              </a:ext>
            </a:extLst>
          </p:cNvPr>
          <p:cNvSpPr txBox="1"/>
          <p:nvPr/>
        </p:nvSpPr>
        <p:spPr>
          <a:xfrm>
            <a:off x="659876" y="1979629"/>
            <a:ext cx="337479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tx1">
                    <a:lumMod val="75000"/>
                  </a:schemeClr>
                </a:solidFill>
              </a:rPr>
              <a:t>Domain expert can be selected from HKSTP domain expert pool (continue expanding)</a:t>
            </a:r>
          </a:p>
          <a:p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Or</a:t>
            </a:r>
          </a:p>
          <a:p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Company nominates candidates to enter the domain expert pool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8A22A8E-9DB0-B39A-6492-774BC629F141}"/>
              </a:ext>
            </a:extLst>
          </p:cNvPr>
          <p:cNvSpPr/>
          <p:nvPr/>
        </p:nvSpPr>
        <p:spPr>
          <a:xfrm>
            <a:off x="659876" y="5297864"/>
            <a:ext cx="2253006" cy="60331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Nomination</a:t>
            </a:r>
          </a:p>
          <a:p>
            <a:pPr algn="ctr"/>
            <a:r>
              <a:rPr lang="en-US" sz="1400" dirty="0"/>
              <a:t>Application Form + CV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6E0855F-801D-FA3C-EE68-5A47F3A3F5CF}"/>
              </a:ext>
            </a:extLst>
          </p:cNvPr>
          <p:cNvSpPr/>
          <p:nvPr/>
        </p:nvSpPr>
        <p:spPr>
          <a:xfrm>
            <a:off x="3008721" y="5310551"/>
            <a:ext cx="2253006" cy="60331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terview </a:t>
            </a:r>
            <a:r>
              <a:rPr lang="en-US" sz="1100" dirty="0"/>
              <a:t>by HKSTP Acceleration Team for approval</a:t>
            </a:r>
            <a:endParaRPr lang="en-US" sz="1600" dirty="0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E93E345F-79BA-7E51-1451-31308786BB25}"/>
              </a:ext>
            </a:extLst>
          </p:cNvPr>
          <p:cNvSpPr/>
          <p:nvPr/>
        </p:nvSpPr>
        <p:spPr>
          <a:xfrm>
            <a:off x="5357566" y="5297864"/>
            <a:ext cx="2253006" cy="60331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Onboard </a:t>
            </a:r>
          </a:p>
          <a:p>
            <a:pPr algn="ctr"/>
            <a:r>
              <a:rPr lang="en-US" sz="1200" dirty="0"/>
              <a:t>Sign agreement with company</a:t>
            </a:r>
            <a:endParaRPr lang="en-US" dirty="0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B2145DA-6204-EA19-7010-27F487AA2899}"/>
              </a:ext>
            </a:extLst>
          </p:cNvPr>
          <p:cNvSpPr/>
          <p:nvPr/>
        </p:nvSpPr>
        <p:spPr>
          <a:xfrm>
            <a:off x="7706411" y="5297863"/>
            <a:ext cx="2253006" cy="603315"/>
          </a:xfrm>
          <a:prstGeom prst="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ayment conducted by HKSTP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4B7BA14A-0FC2-FBA8-08C7-C8E57E69D88B}"/>
              </a:ext>
            </a:extLst>
          </p:cNvPr>
          <p:cNvSpPr txBox="1"/>
          <p:nvPr/>
        </p:nvSpPr>
        <p:spPr>
          <a:xfrm>
            <a:off x="3243857" y="6079793"/>
            <a:ext cx="194192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*Monthly salary &gt; 50K require HKSTP preapproval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0B4D72B2-5429-10E3-A415-CF4819D6355D}"/>
              </a:ext>
            </a:extLst>
          </p:cNvPr>
          <p:cNvSpPr txBox="1"/>
          <p:nvPr/>
        </p:nvSpPr>
        <p:spPr>
          <a:xfrm>
            <a:off x="5436640" y="6079793"/>
            <a:ext cx="209485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75000"/>
                  </a:schemeClr>
                </a:solidFill>
              </a:rPr>
              <a:t>*Maximum engagement period no longer than 12 month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E68EADE-1AB9-5E35-4A2C-1DA5FD4E075C}"/>
              </a:ext>
            </a:extLst>
          </p:cNvPr>
          <p:cNvGraphicFramePr/>
          <p:nvPr/>
        </p:nvGraphicFramePr>
        <p:xfrm>
          <a:off x="10990618" y="5412915"/>
          <a:ext cx="1201382" cy="1159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2F1C6952-11F7-D746-7E1A-34FDDA88903F}"/>
              </a:ext>
            </a:extLst>
          </p:cNvPr>
          <p:cNvSpPr txBox="1"/>
          <p:nvPr/>
        </p:nvSpPr>
        <p:spPr>
          <a:xfrm>
            <a:off x="11532124" y="5668273"/>
            <a:ext cx="7070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1.2M</a:t>
            </a:r>
          </a:p>
        </p:txBody>
      </p:sp>
    </p:spTree>
    <p:extLst>
      <p:ext uri="{BB962C8B-B14F-4D97-AF65-F5344CB8AC3E}">
        <p14:creationId xmlns:p14="http://schemas.microsoft.com/office/powerpoint/2010/main" val="161863648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C408D56-B5BE-52B7-2467-EB91FBF6DFE4}"/>
              </a:ext>
            </a:extLst>
          </p:cNvPr>
          <p:cNvSpPr/>
          <p:nvPr/>
        </p:nvSpPr>
        <p:spPr>
          <a:xfrm>
            <a:off x="705722" y="0"/>
            <a:ext cx="10269790" cy="1562100"/>
          </a:xfrm>
          <a:prstGeom prst="rect">
            <a:avLst/>
          </a:prstGeom>
        </p:spPr>
        <p:txBody>
          <a:bodyPr vert="horz" lIns="182843" tIns="91422" rIns="182843" bIns="91422" rtlCol="0" anchor="ctr">
            <a:normAutofit/>
          </a:bodyPr>
          <a:lstStyle/>
          <a:p>
            <a:pPr defTabSz="914217">
              <a:lnSpc>
                <a:spcPct val="90000"/>
              </a:lnSpc>
              <a:spcBef>
                <a:spcPct val="0"/>
              </a:spcBef>
            </a:pPr>
            <a:r>
              <a:rPr lang="en-US" sz="3000" b="1" cap="all" dirty="0">
                <a:solidFill>
                  <a:schemeClr val="tx1">
                    <a:lumMod val="75000"/>
                  </a:schemeClr>
                </a:solidFill>
                <a:ea typeface="Open Sans Light" panose="020B0306030504020204" pitchFamily="34" charset="0"/>
                <a:cs typeface="Poppins" pitchFamily="2" charset="77"/>
              </a:rPr>
              <a:t>HKSTP as your </a:t>
            </a:r>
          </a:p>
          <a:p>
            <a:pPr defTabSz="914217">
              <a:lnSpc>
                <a:spcPct val="90000"/>
              </a:lnSpc>
              <a:spcBef>
                <a:spcPct val="0"/>
              </a:spcBef>
            </a:pPr>
            <a:r>
              <a:rPr lang="en-US" sz="3000" b="1" cap="all" dirty="0">
                <a:solidFill>
                  <a:schemeClr val="tx1">
                    <a:lumMod val="75000"/>
                  </a:schemeClr>
                </a:solidFill>
                <a:ea typeface="Open Sans Light" panose="020B0306030504020204" pitchFamily="34" charset="0"/>
                <a:cs typeface="Poppins" pitchFamily="2" charset="77"/>
              </a:rPr>
              <a:t>partner and stakeholder 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FD4EB00A-90FE-B957-CBA7-E2C9B36D743F}"/>
              </a:ext>
            </a:extLst>
          </p:cNvPr>
          <p:cNvSpPr/>
          <p:nvPr/>
        </p:nvSpPr>
        <p:spPr>
          <a:xfrm>
            <a:off x="1650537" y="1395771"/>
            <a:ext cx="8096250" cy="10477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sz="2400" b="1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+mj-lt"/>
                <a:ea typeface="Microsoft JhengHei"/>
              </a:rPr>
              <a:t>(SAFE)</a:t>
            </a:r>
          </a:p>
          <a:p>
            <a:pPr algn="ctr">
              <a:lnSpc>
                <a:spcPct val="90000"/>
              </a:lnSpc>
              <a:spcBef>
                <a:spcPts val="1000"/>
              </a:spcBef>
            </a:pPr>
            <a:r>
              <a:rPr sz="2400" b="1" dirty="0">
                <a:solidFill>
                  <a:sysClr val="windowText" lastClr="000000">
                    <a:lumMod val="75000"/>
                    <a:lumOff val="25000"/>
                  </a:sysClr>
                </a:solidFill>
                <a:latin typeface="+mj-lt"/>
                <a:ea typeface="Microsoft JhengHei"/>
              </a:rPr>
              <a:t>Simple agreement for future equity</a:t>
            </a:r>
          </a:p>
        </p:txBody>
      </p:sp>
      <p:pic>
        <p:nvPicPr>
          <p:cNvPr id="4" name="Shape-1 copy 6">
            <a:extLst>
              <a:ext uri="{FF2B5EF4-FFF2-40B4-BE49-F238E27FC236}">
                <a16:creationId xmlns:a16="http://schemas.microsoft.com/office/drawing/2014/main" id="{3E31A690-772F-4468-1AF4-3DB2570BFF46}"/>
              </a:ext>
            </a:extLst>
          </p:cNvPr>
          <p:cNvPicPr/>
          <p:nvPr/>
        </p:nvPicPr>
        <p:blipFill rotWithShape="1">
          <a:blip r:embed="rId2"/>
          <a:stretch>
            <a:fillRect/>
          </a:stretch>
        </p:blipFill>
        <p:spPr>
          <a:xfrm>
            <a:off x="6422734" y="3350273"/>
            <a:ext cx="3830495" cy="1621557"/>
          </a:xfrm>
          <a:prstGeom prst="rect">
            <a:avLst/>
          </a:prstGeom>
        </p:spPr>
      </p:pic>
      <p:pic>
        <p:nvPicPr>
          <p:cNvPr id="5" name="19_Arrow">
            <a:extLst>
              <a:ext uri="{FF2B5EF4-FFF2-40B4-BE49-F238E27FC236}">
                <a16:creationId xmlns:a16="http://schemas.microsoft.com/office/drawing/2014/main" id="{7E2248B4-AB96-D484-6C8B-35BF1841C6BC}"/>
              </a:ext>
            </a:extLst>
          </p:cNvPr>
          <p:cNvPicPr/>
          <p:nvPr/>
        </p:nvPicPr>
        <p:blipFill rotWithShape="1">
          <a:blip r:embed="rId3"/>
          <a:stretch>
            <a:fillRect/>
          </a:stretch>
        </p:blipFill>
        <p:spPr>
          <a:xfrm rot="-5400000">
            <a:off x="2954337" y="4065152"/>
            <a:ext cx="790575" cy="514350"/>
          </a:xfrm>
          <a:prstGeom prst="rect">
            <a:avLst/>
          </a:prstGeom>
        </p:spPr>
      </p:pic>
      <p:pic>
        <p:nvPicPr>
          <p:cNvPr id="6" name="Shape-1 copy 6">
            <a:extLst>
              <a:ext uri="{FF2B5EF4-FFF2-40B4-BE49-F238E27FC236}">
                <a16:creationId xmlns:a16="http://schemas.microsoft.com/office/drawing/2014/main" id="{F0601C54-A4C2-589A-4BB2-0DEC2890AA92}"/>
              </a:ext>
            </a:extLst>
          </p:cNvPr>
          <p:cNvPicPr/>
          <p:nvPr/>
        </p:nvPicPr>
        <p:blipFill rotWithShape="1">
          <a:blip r:embed="rId4"/>
          <a:stretch>
            <a:fillRect/>
          </a:stretch>
        </p:blipFill>
        <p:spPr>
          <a:xfrm>
            <a:off x="1501774" y="2369702"/>
            <a:ext cx="3695700" cy="1476375"/>
          </a:xfrm>
          <a:prstGeom prst="rect">
            <a:avLst/>
          </a:prstGeom>
        </p:spPr>
      </p:pic>
      <p:pic>
        <p:nvPicPr>
          <p:cNvPr id="7" name="Shape-1 copy 7">
            <a:extLst>
              <a:ext uri="{FF2B5EF4-FFF2-40B4-BE49-F238E27FC236}">
                <a16:creationId xmlns:a16="http://schemas.microsoft.com/office/drawing/2014/main" id="{FEECECB4-1070-E328-3182-29904664497F}"/>
              </a:ext>
            </a:extLst>
          </p:cNvPr>
          <p:cNvPicPr/>
          <p:nvPr/>
        </p:nvPicPr>
        <p:blipFill rotWithShape="1">
          <a:blip r:embed="rId4"/>
          <a:stretch>
            <a:fillRect/>
          </a:stretch>
        </p:blipFill>
        <p:spPr>
          <a:xfrm>
            <a:off x="1508527" y="4779527"/>
            <a:ext cx="3695700" cy="1476375"/>
          </a:xfrm>
          <a:prstGeom prst="rect">
            <a:avLst/>
          </a:prstGeom>
        </p:spPr>
      </p:pic>
      <p:sp>
        <p:nvSpPr>
          <p:cNvPr id="8" name="Body text copy copy 4">
            <a:extLst>
              <a:ext uri="{FF2B5EF4-FFF2-40B4-BE49-F238E27FC236}">
                <a16:creationId xmlns:a16="http://schemas.microsoft.com/office/drawing/2014/main" id="{87D2F4C1-1E92-1B1A-9BE9-2E18B2CB7B1A}"/>
              </a:ext>
            </a:extLst>
          </p:cNvPr>
          <p:cNvSpPr/>
          <p:nvPr/>
        </p:nvSpPr>
        <p:spPr>
          <a:xfrm>
            <a:off x="1768714" y="4893827"/>
            <a:ext cx="3133725" cy="1219200"/>
          </a:xfrm>
          <a:prstGeom prst="rect">
            <a:avLst/>
          </a:prstGeom>
        </p:spPr>
        <p:txBody>
          <a:bodyPr spcFirstLastPara="0" lIns="95250" tIns="95250" rIns="95250" bIns="0" anchor="t"/>
          <a:lstStyle/>
          <a:p>
            <a:pPr algn="ctr" hangingPunct="0">
              <a:lnSpc>
                <a:spcPct val="125000"/>
              </a:lnSpc>
            </a:pPr>
            <a:r>
              <a:rPr sz="1600" b="1">
                <a:solidFill>
                  <a:srgbClr val="F7F7F7"/>
                </a:solidFill>
                <a:latin typeface="+mj-lt"/>
                <a:ea typeface="+mn-ea"/>
                <a:cs typeface="Roboto"/>
              </a:rPr>
              <a:t>Qualified Equity</a:t>
            </a:r>
          </a:p>
          <a:p>
            <a:pPr algn="ctr" hangingPunct="0">
              <a:lnSpc>
                <a:spcPct val="125000"/>
              </a:lnSpc>
            </a:pPr>
            <a:r>
              <a:rPr sz="1600" b="1">
                <a:solidFill>
                  <a:srgbClr val="F7F7F7"/>
                </a:solidFill>
                <a:latin typeface="+mj-lt"/>
                <a:ea typeface="+mn-ea"/>
                <a:cs typeface="Roboto"/>
              </a:rPr>
              <a:t>Financing Round</a:t>
            </a:r>
          </a:p>
          <a:p>
            <a:pPr algn="ctr" hangingPunct="0">
              <a:lnSpc>
                <a:spcPct val="125000"/>
              </a:lnSpc>
            </a:pPr>
            <a:r>
              <a:rPr sz="1600" b="1">
                <a:solidFill>
                  <a:srgbClr val="F7F7F7"/>
                </a:solidFill>
                <a:latin typeface="+mj-lt"/>
                <a:ea typeface="+mn-ea"/>
                <a:cs typeface="Roboto"/>
              </a:rPr>
              <a:t>Valuation</a:t>
            </a:r>
          </a:p>
        </p:txBody>
      </p:sp>
      <p:sp>
        <p:nvSpPr>
          <p:cNvPr id="9" name="Body text copy copy 5">
            <a:extLst>
              <a:ext uri="{FF2B5EF4-FFF2-40B4-BE49-F238E27FC236}">
                <a16:creationId xmlns:a16="http://schemas.microsoft.com/office/drawing/2014/main" id="{0D2B250A-03E6-CD96-FD9B-5995A44880BB}"/>
              </a:ext>
            </a:extLst>
          </p:cNvPr>
          <p:cNvSpPr/>
          <p:nvPr/>
        </p:nvSpPr>
        <p:spPr>
          <a:xfrm>
            <a:off x="1773217" y="2484002"/>
            <a:ext cx="3133725" cy="1219200"/>
          </a:xfrm>
          <a:prstGeom prst="rect">
            <a:avLst/>
          </a:prstGeom>
        </p:spPr>
        <p:txBody>
          <a:bodyPr spcFirstLastPara="0" lIns="95250" tIns="95250" rIns="95250" bIns="0" anchor="t"/>
          <a:lstStyle/>
          <a:p>
            <a:pPr algn="ctr" hangingPunct="0">
              <a:lnSpc>
                <a:spcPct val="125000"/>
              </a:lnSpc>
            </a:pPr>
            <a:r>
              <a:rPr sz="1600" b="1" dirty="0">
                <a:solidFill>
                  <a:srgbClr val="F7F7F7"/>
                </a:solidFill>
                <a:latin typeface="+mj-lt"/>
                <a:ea typeface="+mn-ea"/>
                <a:cs typeface="Roboto"/>
              </a:rPr>
              <a:t>Qualified Equity</a:t>
            </a:r>
          </a:p>
          <a:p>
            <a:pPr algn="ctr" hangingPunct="0">
              <a:lnSpc>
                <a:spcPct val="125000"/>
              </a:lnSpc>
            </a:pPr>
            <a:r>
              <a:rPr sz="1600" b="1" dirty="0">
                <a:solidFill>
                  <a:srgbClr val="F7F7F7"/>
                </a:solidFill>
                <a:latin typeface="+mj-lt"/>
                <a:ea typeface="+mn-ea"/>
                <a:cs typeface="Roboto"/>
              </a:rPr>
              <a:t>Financing Round:</a:t>
            </a:r>
          </a:p>
          <a:p>
            <a:pPr algn="ctr" hangingPunct="0">
              <a:lnSpc>
                <a:spcPct val="125000"/>
              </a:lnSpc>
            </a:pPr>
            <a:r>
              <a:rPr sz="1600" b="1" dirty="0">
                <a:solidFill>
                  <a:srgbClr val="F7F7F7"/>
                </a:solidFill>
                <a:latin typeface="+mj-lt"/>
                <a:ea typeface="+mn-ea"/>
                <a:cs typeface="Roboto"/>
              </a:rPr>
              <a:t>US$2M or 5% Equity</a:t>
            </a:r>
          </a:p>
        </p:txBody>
      </p:sp>
      <p:sp>
        <p:nvSpPr>
          <p:cNvPr id="10" name="Body text copy copy 6">
            <a:extLst>
              <a:ext uri="{FF2B5EF4-FFF2-40B4-BE49-F238E27FC236}">
                <a16:creationId xmlns:a16="http://schemas.microsoft.com/office/drawing/2014/main" id="{1C12213B-CBB2-AEC3-C5E0-F40DEF2B27CE}"/>
              </a:ext>
            </a:extLst>
          </p:cNvPr>
          <p:cNvSpPr/>
          <p:nvPr/>
        </p:nvSpPr>
        <p:spPr>
          <a:xfrm>
            <a:off x="6677023" y="3734881"/>
            <a:ext cx="3321916" cy="1236949"/>
          </a:xfrm>
          <a:prstGeom prst="rect">
            <a:avLst/>
          </a:prstGeom>
        </p:spPr>
        <p:txBody>
          <a:bodyPr spcFirstLastPara="0" lIns="95250" tIns="95250" rIns="95250" bIns="0" anchor="t"/>
          <a:lstStyle/>
          <a:p>
            <a:pPr algn="ctr" hangingPunct="0">
              <a:lnSpc>
                <a:spcPct val="125000"/>
              </a:lnSpc>
            </a:pPr>
            <a:r>
              <a:rPr lang="en-HK" sz="1600" b="1" dirty="0">
                <a:solidFill>
                  <a:srgbClr val="F7F7F7"/>
                </a:solidFill>
                <a:latin typeface="+mj-lt"/>
                <a:ea typeface="+mn-ea"/>
                <a:cs typeface="Roboto"/>
              </a:rPr>
              <a:t>HKSTP convert at HK$4.8M based on next round valuation</a:t>
            </a:r>
            <a:endParaRPr sz="1600" b="1" dirty="0">
              <a:solidFill>
                <a:srgbClr val="F7F7F7"/>
              </a:solidFill>
              <a:latin typeface="+mj-lt"/>
              <a:ea typeface="+mn-ea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66173796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>
          <a:xfrm>
            <a:off x="0" y="0"/>
            <a:ext cx="0" cy="0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42F2FE7-8CE3-4984-AA46-E2B35FBCC22F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Arial"/>
              <a:ea typeface="Microsoft JhengHei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563DEA-D762-49C7-A0ED-6225D7B801C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192000" cy="40957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9B81925-1B33-4937-91D4-FF1C9AA01953}"/>
              </a:ext>
            </a:extLst>
          </p:cNvPr>
          <p:cNvSpPr txBox="1"/>
          <p:nvPr/>
        </p:nvSpPr>
        <p:spPr>
          <a:xfrm>
            <a:off x="1730817" y="4354160"/>
            <a:ext cx="906456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i="1" dirty="0">
                <a:solidFill>
                  <a:schemeClr val="tx1">
                    <a:lumMod val="50000"/>
                  </a:schemeClr>
                </a:solidFill>
                <a:effectLst/>
                <a:latin typeface="Calibri" panose="020F0502020204030204" pitchFamily="34" charset="0"/>
              </a:rPr>
              <a:t>The success of our Partner Companies is our success</a:t>
            </a:r>
            <a:endParaRPr lang="en-HK" sz="5400" b="1" dirty="0">
              <a:solidFill>
                <a:schemeClr val="tx1">
                  <a:lumMod val="50000"/>
                </a:schemeClr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89793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627445" y="1758573"/>
            <a:ext cx="3326958" cy="4551680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all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1200" cap="all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4518881" y="1808480"/>
            <a:ext cx="3342640" cy="4485656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ODUCT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amp;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MMERCIALIZ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ounded Rectangle 5"/>
          <p:cNvSpPr/>
          <p:nvPr/>
        </p:nvSpPr>
        <p:spPr>
          <a:xfrm>
            <a:off x="8382000" y="1808480"/>
            <a:ext cx="3342640" cy="4485656"/>
          </a:xfrm>
          <a:prstGeom prst="roundRect">
            <a:avLst/>
          </a:prstGeom>
          <a:noFill/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CALE-U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2D7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76825" y="1296908"/>
            <a:ext cx="161416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DE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97681" y="1120724"/>
            <a:ext cx="2417650" cy="105099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CUBATION</a:t>
            </a:r>
          </a:p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eneral &amp; Bio-focuse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8809846" y="1296908"/>
            <a:ext cx="255672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CCELERATION</a:t>
            </a:r>
          </a:p>
        </p:txBody>
      </p:sp>
      <p:sp>
        <p:nvSpPr>
          <p:cNvPr id="10" name="TextBox 9"/>
          <p:cNvSpPr txBox="1"/>
          <p:nvPr/>
        </p:nvSpPr>
        <p:spPr>
          <a:xfrm rot="10800000" flipV="1">
            <a:off x="935206" y="4084320"/>
            <a:ext cx="277368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9999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ck start your business with our support and experti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999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99999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rom ideas to business readiness</a:t>
            </a:r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F424E526-83D7-0747-AF94-B5199C2F61B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979035" y="2069254"/>
            <a:ext cx="645381" cy="731585"/>
          </a:xfrm>
          <a:custGeom>
            <a:avLst/>
            <a:gdLst>
              <a:gd name="connsiteX0" fmla="*/ 216332 w 1093427"/>
              <a:gd name="connsiteY0" fmla="*/ 1190625 h 1239478"/>
              <a:gd name="connsiteX1" fmla="*/ 233701 w 1093427"/>
              <a:gd name="connsiteY1" fmla="*/ 1197916 h 1239478"/>
              <a:gd name="connsiteX2" fmla="*/ 240938 w 1093427"/>
              <a:gd name="connsiteY2" fmla="*/ 1215049 h 1239478"/>
              <a:gd name="connsiteX3" fmla="*/ 233701 w 1093427"/>
              <a:gd name="connsiteY3" fmla="*/ 1232547 h 1239478"/>
              <a:gd name="connsiteX4" fmla="*/ 216332 w 1093427"/>
              <a:gd name="connsiteY4" fmla="*/ 1239474 h 1239478"/>
              <a:gd name="connsiteX5" fmla="*/ 199324 w 1093427"/>
              <a:gd name="connsiteY5" fmla="*/ 1232547 h 1239478"/>
              <a:gd name="connsiteX6" fmla="*/ 192087 w 1093427"/>
              <a:gd name="connsiteY6" fmla="*/ 1215049 h 1239478"/>
              <a:gd name="connsiteX7" fmla="*/ 199324 w 1093427"/>
              <a:gd name="connsiteY7" fmla="*/ 1197916 h 1239478"/>
              <a:gd name="connsiteX8" fmla="*/ 216332 w 1093427"/>
              <a:gd name="connsiteY8" fmla="*/ 1190625 h 1239478"/>
              <a:gd name="connsiteX9" fmla="*/ 927894 w 1093427"/>
              <a:gd name="connsiteY9" fmla="*/ 1060450 h 1239478"/>
              <a:gd name="connsiteX10" fmla="*/ 944901 w 1093427"/>
              <a:gd name="connsiteY10" fmla="*/ 1067741 h 1239478"/>
              <a:gd name="connsiteX11" fmla="*/ 952138 w 1093427"/>
              <a:gd name="connsiteY11" fmla="*/ 1084874 h 1239478"/>
              <a:gd name="connsiteX12" fmla="*/ 944901 w 1093427"/>
              <a:gd name="connsiteY12" fmla="*/ 1102372 h 1239478"/>
              <a:gd name="connsiteX13" fmla="*/ 927894 w 1093427"/>
              <a:gd name="connsiteY13" fmla="*/ 1109299 h 1239478"/>
              <a:gd name="connsiteX14" fmla="*/ 910524 w 1093427"/>
              <a:gd name="connsiteY14" fmla="*/ 1102372 h 1239478"/>
              <a:gd name="connsiteX15" fmla="*/ 903287 w 1093427"/>
              <a:gd name="connsiteY15" fmla="*/ 1084874 h 1239478"/>
              <a:gd name="connsiteX16" fmla="*/ 910524 w 1093427"/>
              <a:gd name="connsiteY16" fmla="*/ 1067741 h 1239478"/>
              <a:gd name="connsiteX17" fmla="*/ 927894 w 1093427"/>
              <a:gd name="connsiteY17" fmla="*/ 1060450 h 1239478"/>
              <a:gd name="connsiteX18" fmla="*/ 753142 w 1093427"/>
              <a:gd name="connsiteY18" fmla="*/ 1060450 h 1239478"/>
              <a:gd name="connsiteX19" fmla="*/ 835944 w 1093427"/>
              <a:gd name="connsiteY19" fmla="*/ 1060450 h 1239478"/>
              <a:gd name="connsiteX20" fmla="*/ 860065 w 1093427"/>
              <a:gd name="connsiteY20" fmla="*/ 1084874 h 1239478"/>
              <a:gd name="connsiteX21" fmla="*/ 835944 w 1093427"/>
              <a:gd name="connsiteY21" fmla="*/ 1109299 h 1239478"/>
              <a:gd name="connsiteX22" fmla="*/ 753142 w 1093427"/>
              <a:gd name="connsiteY22" fmla="*/ 1109299 h 1239478"/>
              <a:gd name="connsiteX23" fmla="*/ 728662 w 1093427"/>
              <a:gd name="connsiteY23" fmla="*/ 1084874 h 1239478"/>
              <a:gd name="connsiteX24" fmla="*/ 753142 w 1093427"/>
              <a:gd name="connsiteY24" fmla="*/ 1060450 h 1239478"/>
              <a:gd name="connsiteX25" fmla="*/ 463842 w 1093427"/>
              <a:gd name="connsiteY25" fmla="*/ 844951 h 1239478"/>
              <a:gd name="connsiteX26" fmla="*/ 463842 w 1093427"/>
              <a:gd name="connsiteY26" fmla="*/ 917678 h 1239478"/>
              <a:gd name="connsiteX27" fmla="*/ 497725 w 1093427"/>
              <a:gd name="connsiteY27" fmla="*/ 951161 h 1239478"/>
              <a:gd name="connsiteX28" fmla="*/ 604421 w 1093427"/>
              <a:gd name="connsiteY28" fmla="*/ 951161 h 1239478"/>
              <a:gd name="connsiteX29" fmla="*/ 638305 w 1093427"/>
              <a:gd name="connsiteY29" fmla="*/ 917678 h 1239478"/>
              <a:gd name="connsiteX30" fmla="*/ 638305 w 1093427"/>
              <a:gd name="connsiteY30" fmla="*/ 844951 h 1239478"/>
              <a:gd name="connsiteX31" fmla="*/ 280557 w 1093427"/>
              <a:gd name="connsiteY31" fmla="*/ 831046 h 1239478"/>
              <a:gd name="connsiteX32" fmla="*/ 310373 w 1093427"/>
              <a:gd name="connsiteY32" fmla="*/ 847239 h 1239478"/>
              <a:gd name="connsiteX33" fmla="*/ 293849 w 1093427"/>
              <a:gd name="connsiteY33" fmla="*/ 877467 h 1239478"/>
              <a:gd name="connsiteX34" fmla="*/ 178177 w 1093427"/>
              <a:gd name="connsiteY34" fmla="*/ 910933 h 1239478"/>
              <a:gd name="connsiteX35" fmla="*/ 48496 w 1093427"/>
              <a:gd name="connsiteY35" fmla="*/ 1083303 h 1239478"/>
              <a:gd name="connsiteX36" fmla="*/ 48496 w 1093427"/>
              <a:gd name="connsiteY36" fmla="*/ 1191258 h 1239478"/>
              <a:gd name="connsiteX37" fmla="*/ 116031 w 1093427"/>
              <a:gd name="connsiteY37" fmla="*/ 1191258 h 1239478"/>
              <a:gd name="connsiteX38" fmla="*/ 140099 w 1093427"/>
              <a:gd name="connsiteY38" fmla="*/ 1215368 h 1239478"/>
              <a:gd name="connsiteX39" fmla="*/ 116031 w 1093427"/>
              <a:gd name="connsiteY39" fmla="*/ 1239478 h 1239478"/>
              <a:gd name="connsiteX40" fmla="*/ 24068 w 1093427"/>
              <a:gd name="connsiteY40" fmla="*/ 1239478 h 1239478"/>
              <a:gd name="connsiteX41" fmla="*/ 0 w 1093427"/>
              <a:gd name="connsiteY41" fmla="*/ 1215368 h 1239478"/>
              <a:gd name="connsiteX42" fmla="*/ 0 w 1093427"/>
              <a:gd name="connsiteY42" fmla="*/ 1083303 h 1239478"/>
              <a:gd name="connsiteX43" fmla="*/ 45981 w 1093427"/>
              <a:gd name="connsiteY43" fmla="*/ 946199 h 1239478"/>
              <a:gd name="connsiteX44" fmla="*/ 164527 w 1093427"/>
              <a:gd name="connsiteY44" fmla="*/ 864152 h 1239478"/>
              <a:gd name="connsiteX45" fmla="*/ 796541 w 1093427"/>
              <a:gd name="connsiteY45" fmla="*/ 825924 h 1239478"/>
              <a:gd name="connsiteX46" fmla="*/ 928611 w 1093427"/>
              <a:gd name="connsiteY46" fmla="*/ 864076 h 1239478"/>
              <a:gd name="connsiteX47" fmla="*/ 1047725 w 1093427"/>
              <a:gd name="connsiteY47" fmla="*/ 946139 h 1239478"/>
              <a:gd name="connsiteX48" fmla="*/ 1093427 w 1093427"/>
              <a:gd name="connsiteY48" fmla="*/ 1083271 h 1239478"/>
              <a:gd name="connsiteX49" fmla="*/ 1093427 w 1093427"/>
              <a:gd name="connsiteY49" fmla="*/ 1215363 h 1239478"/>
              <a:gd name="connsiteX50" fmla="*/ 1069317 w 1093427"/>
              <a:gd name="connsiteY50" fmla="*/ 1239478 h 1239478"/>
              <a:gd name="connsiteX51" fmla="*/ 311448 w 1093427"/>
              <a:gd name="connsiteY51" fmla="*/ 1239478 h 1239478"/>
              <a:gd name="connsiteX52" fmla="*/ 287337 w 1093427"/>
              <a:gd name="connsiteY52" fmla="*/ 1215363 h 1239478"/>
              <a:gd name="connsiteX53" fmla="*/ 311448 w 1093427"/>
              <a:gd name="connsiteY53" fmla="*/ 1191248 h 1239478"/>
              <a:gd name="connsiteX54" fmla="*/ 1045206 w 1093427"/>
              <a:gd name="connsiteY54" fmla="*/ 1191248 h 1239478"/>
              <a:gd name="connsiteX55" fmla="*/ 1045206 w 1093427"/>
              <a:gd name="connsiteY55" fmla="*/ 1083271 h 1239478"/>
              <a:gd name="connsiteX56" fmla="*/ 915296 w 1093427"/>
              <a:gd name="connsiteY56" fmla="*/ 910866 h 1239478"/>
              <a:gd name="connsiteX57" fmla="*/ 782866 w 1093427"/>
              <a:gd name="connsiteY57" fmla="*/ 872354 h 1239478"/>
              <a:gd name="connsiteX58" fmla="*/ 766673 w 1093427"/>
              <a:gd name="connsiteY58" fmla="*/ 842481 h 1239478"/>
              <a:gd name="connsiteX59" fmla="*/ 796541 w 1093427"/>
              <a:gd name="connsiteY59" fmla="*/ 825924 h 1239478"/>
              <a:gd name="connsiteX60" fmla="*/ 546100 w 1093427"/>
              <a:gd name="connsiteY60" fmla="*/ 445197 h 1239478"/>
              <a:gd name="connsiteX61" fmla="*/ 521517 w 1093427"/>
              <a:gd name="connsiteY61" fmla="*/ 469719 h 1239478"/>
              <a:gd name="connsiteX62" fmla="*/ 546100 w 1093427"/>
              <a:gd name="connsiteY62" fmla="*/ 493881 h 1239478"/>
              <a:gd name="connsiteX63" fmla="*/ 570321 w 1093427"/>
              <a:gd name="connsiteY63" fmla="*/ 469719 h 1239478"/>
              <a:gd name="connsiteX64" fmla="*/ 546100 w 1093427"/>
              <a:gd name="connsiteY64" fmla="*/ 445197 h 1239478"/>
              <a:gd name="connsiteX65" fmla="*/ 546100 w 1093427"/>
              <a:gd name="connsiteY65" fmla="*/ 396875 h 1239478"/>
              <a:gd name="connsiteX66" fmla="*/ 618763 w 1093427"/>
              <a:gd name="connsiteY66" fmla="*/ 469719 h 1239478"/>
              <a:gd name="connsiteX67" fmla="*/ 546100 w 1093427"/>
              <a:gd name="connsiteY67" fmla="*/ 542564 h 1239478"/>
              <a:gd name="connsiteX68" fmla="*/ 473075 w 1093427"/>
              <a:gd name="connsiteY68" fmla="*/ 469719 h 1239478"/>
              <a:gd name="connsiteX69" fmla="*/ 546100 w 1093427"/>
              <a:gd name="connsiteY69" fmla="*/ 396875 h 1239478"/>
              <a:gd name="connsiteX70" fmla="*/ 548910 w 1093427"/>
              <a:gd name="connsiteY70" fmla="*/ 179253 h 1239478"/>
              <a:gd name="connsiteX71" fmla="*/ 410854 w 1093427"/>
              <a:gd name="connsiteY71" fmla="*/ 214896 h 1239478"/>
              <a:gd name="connsiteX72" fmla="*/ 324344 w 1093427"/>
              <a:gd name="connsiteY72" fmla="*/ 302744 h 1239478"/>
              <a:gd name="connsiteX73" fmla="*/ 364715 w 1093427"/>
              <a:gd name="connsiteY73" fmla="*/ 618132 h 1239478"/>
              <a:gd name="connsiteX74" fmla="*/ 435005 w 1093427"/>
              <a:gd name="connsiteY74" fmla="*/ 792387 h 1239478"/>
              <a:gd name="connsiteX75" fmla="*/ 438970 w 1093427"/>
              <a:gd name="connsiteY75" fmla="*/ 796347 h 1239478"/>
              <a:gd name="connsiteX76" fmla="*/ 524039 w 1093427"/>
              <a:gd name="connsiteY76" fmla="*/ 796347 h 1239478"/>
              <a:gd name="connsiteX77" fmla="*/ 524039 w 1093427"/>
              <a:gd name="connsiteY77" fmla="*/ 619572 h 1239478"/>
              <a:gd name="connsiteX78" fmla="*/ 548190 w 1093427"/>
              <a:gd name="connsiteY78" fmla="*/ 595450 h 1239478"/>
              <a:gd name="connsiteX79" fmla="*/ 572340 w 1093427"/>
              <a:gd name="connsiteY79" fmla="*/ 619572 h 1239478"/>
              <a:gd name="connsiteX80" fmla="*/ 572340 w 1093427"/>
              <a:gd name="connsiteY80" fmla="*/ 796347 h 1239478"/>
              <a:gd name="connsiteX81" fmla="*/ 658130 w 1093427"/>
              <a:gd name="connsiteY81" fmla="*/ 796347 h 1239478"/>
              <a:gd name="connsiteX82" fmla="*/ 662095 w 1093427"/>
              <a:gd name="connsiteY82" fmla="*/ 792387 h 1239478"/>
              <a:gd name="connsiteX83" fmla="*/ 732745 w 1093427"/>
              <a:gd name="connsiteY83" fmla="*/ 617771 h 1239478"/>
              <a:gd name="connsiteX84" fmla="*/ 807000 w 1093427"/>
              <a:gd name="connsiteY84" fmla="*/ 437036 h 1239478"/>
              <a:gd name="connsiteX85" fmla="*/ 681920 w 1093427"/>
              <a:gd name="connsiteY85" fmla="*/ 216337 h 1239478"/>
              <a:gd name="connsiteX86" fmla="*/ 548910 w 1093427"/>
              <a:gd name="connsiteY86" fmla="*/ 179253 h 1239478"/>
              <a:gd name="connsiteX87" fmla="*/ 552019 w 1093427"/>
              <a:gd name="connsiteY87" fmla="*/ 130649 h 1239478"/>
              <a:gd name="connsiteX88" fmla="*/ 707152 w 1093427"/>
              <a:gd name="connsiteY88" fmla="*/ 174933 h 1239478"/>
              <a:gd name="connsiteX89" fmla="*/ 814569 w 1093427"/>
              <a:gd name="connsiteY89" fmla="*/ 284382 h 1239478"/>
              <a:gd name="connsiteX90" fmla="*/ 855301 w 1093427"/>
              <a:gd name="connsiteY90" fmla="*/ 437036 h 1239478"/>
              <a:gd name="connsiteX91" fmla="*/ 767349 w 1093427"/>
              <a:gd name="connsiteY91" fmla="*/ 651974 h 1239478"/>
              <a:gd name="connsiteX92" fmla="*/ 710397 w 1093427"/>
              <a:gd name="connsiteY92" fmla="*/ 792387 h 1239478"/>
              <a:gd name="connsiteX93" fmla="*/ 686606 w 1093427"/>
              <a:gd name="connsiteY93" fmla="*/ 836311 h 1239478"/>
              <a:gd name="connsiteX94" fmla="*/ 686606 w 1093427"/>
              <a:gd name="connsiteY94" fmla="*/ 917678 h 1239478"/>
              <a:gd name="connsiteX95" fmla="*/ 604421 w 1093427"/>
              <a:gd name="connsiteY95" fmla="*/ 999765 h 1239478"/>
              <a:gd name="connsiteX96" fmla="*/ 497725 w 1093427"/>
              <a:gd name="connsiteY96" fmla="*/ 999765 h 1239478"/>
              <a:gd name="connsiteX97" fmla="*/ 415180 w 1093427"/>
              <a:gd name="connsiteY97" fmla="*/ 917678 h 1239478"/>
              <a:gd name="connsiteX98" fmla="*/ 415180 w 1093427"/>
              <a:gd name="connsiteY98" fmla="*/ 838831 h 1239478"/>
              <a:gd name="connsiteX99" fmla="*/ 386703 w 1093427"/>
              <a:gd name="connsiteY99" fmla="*/ 792387 h 1239478"/>
              <a:gd name="connsiteX100" fmla="*/ 329751 w 1093427"/>
              <a:gd name="connsiteY100" fmla="*/ 651974 h 1239478"/>
              <a:gd name="connsiteX101" fmla="*/ 245764 w 1093427"/>
              <a:gd name="connsiteY101" fmla="*/ 485640 h 1239478"/>
              <a:gd name="connsiteX102" fmla="*/ 281089 w 1093427"/>
              <a:gd name="connsiteY102" fmla="*/ 280422 h 1239478"/>
              <a:gd name="connsiteX103" fmla="*/ 388506 w 1093427"/>
              <a:gd name="connsiteY103" fmla="*/ 171693 h 1239478"/>
              <a:gd name="connsiteX104" fmla="*/ 552019 w 1093427"/>
              <a:gd name="connsiteY104" fmla="*/ 130649 h 1239478"/>
              <a:gd name="connsiteX105" fmla="*/ 755759 w 1093427"/>
              <a:gd name="connsiteY105" fmla="*/ 35763 h 1239478"/>
              <a:gd name="connsiteX106" fmla="*/ 772993 w 1093427"/>
              <a:gd name="connsiteY106" fmla="*/ 43037 h 1239478"/>
              <a:gd name="connsiteX107" fmla="*/ 772993 w 1093427"/>
              <a:gd name="connsiteY107" fmla="*/ 77162 h 1239478"/>
              <a:gd name="connsiteX108" fmla="*/ 725844 w 1093427"/>
              <a:gd name="connsiteY108" fmla="*/ 124219 h 1239478"/>
              <a:gd name="connsiteX109" fmla="*/ 709057 w 1093427"/>
              <a:gd name="connsiteY109" fmla="*/ 131404 h 1239478"/>
              <a:gd name="connsiteX110" fmla="*/ 691912 w 1093427"/>
              <a:gd name="connsiteY110" fmla="*/ 124219 h 1239478"/>
              <a:gd name="connsiteX111" fmla="*/ 691912 w 1093427"/>
              <a:gd name="connsiteY111" fmla="*/ 90094 h 1239478"/>
              <a:gd name="connsiteX112" fmla="*/ 739060 w 1093427"/>
              <a:gd name="connsiteY112" fmla="*/ 43037 h 1239478"/>
              <a:gd name="connsiteX113" fmla="*/ 755759 w 1093427"/>
              <a:gd name="connsiteY113" fmla="*/ 35763 h 1239478"/>
              <a:gd name="connsiteX114" fmla="*/ 337725 w 1093427"/>
              <a:gd name="connsiteY114" fmla="*/ 35754 h 1239478"/>
              <a:gd name="connsiteX115" fmla="*/ 354899 w 1093427"/>
              <a:gd name="connsiteY115" fmla="*/ 43001 h 1239478"/>
              <a:gd name="connsiteX116" fmla="*/ 402626 w 1093427"/>
              <a:gd name="connsiteY116" fmla="*/ 90245 h 1239478"/>
              <a:gd name="connsiteX117" fmla="*/ 402626 w 1093427"/>
              <a:gd name="connsiteY117" fmla="*/ 124247 h 1239478"/>
              <a:gd name="connsiteX118" fmla="*/ 385632 w 1093427"/>
              <a:gd name="connsiteY118" fmla="*/ 131405 h 1239478"/>
              <a:gd name="connsiteX119" fmla="*/ 368277 w 1093427"/>
              <a:gd name="connsiteY119" fmla="*/ 124247 h 1239478"/>
              <a:gd name="connsiteX120" fmla="*/ 320551 w 1093427"/>
              <a:gd name="connsiteY120" fmla="*/ 76645 h 1239478"/>
              <a:gd name="connsiteX121" fmla="*/ 320551 w 1093427"/>
              <a:gd name="connsiteY121" fmla="*/ 43001 h 1239478"/>
              <a:gd name="connsiteX122" fmla="*/ 337725 w 1093427"/>
              <a:gd name="connsiteY122" fmla="*/ 35754 h 1239478"/>
              <a:gd name="connsiteX123" fmla="*/ 548481 w 1093427"/>
              <a:gd name="connsiteY123" fmla="*/ 0 h 1239478"/>
              <a:gd name="connsiteX124" fmla="*/ 572725 w 1093427"/>
              <a:gd name="connsiteY124" fmla="*/ 24067 h 1239478"/>
              <a:gd name="connsiteX125" fmla="*/ 572725 w 1093427"/>
              <a:gd name="connsiteY125" fmla="*/ 73998 h 1239478"/>
              <a:gd name="connsiteX126" fmla="*/ 548481 w 1093427"/>
              <a:gd name="connsiteY126" fmla="*/ 98066 h 1239478"/>
              <a:gd name="connsiteX127" fmla="*/ 523875 w 1093427"/>
              <a:gd name="connsiteY127" fmla="*/ 73998 h 1239478"/>
              <a:gd name="connsiteX128" fmla="*/ 523875 w 1093427"/>
              <a:gd name="connsiteY128" fmla="*/ 24067 h 1239478"/>
              <a:gd name="connsiteX129" fmla="*/ 548481 w 1093427"/>
              <a:gd name="connsiteY129" fmla="*/ 0 h 12394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</a:cxnLst>
            <a:rect l="l" t="t" r="r" b="b"/>
            <a:pathLst>
              <a:path w="1093427" h="1239478">
                <a:moveTo>
                  <a:pt x="216332" y="1190625"/>
                </a:moveTo>
                <a:cubicBezTo>
                  <a:pt x="222845" y="1190625"/>
                  <a:pt x="228997" y="1193542"/>
                  <a:pt x="233701" y="1197916"/>
                </a:cubicBezTo>
                <a:cubicBezTo>
                  <a:pt x="238043" y="1202291"/>
                  <a:pt x="240938" y="1208852"/>
                  <a:pt x="240938" y="1215049"/>
                </a:cubicBezTo>
                <a:cubicBezTo>
                  <a:pt x="240938" y="1221611"/>
                  <a:pt x="238043" y="1227808"/>
                  <a:pt x="233701" y="1232547"/>
                </a:cubicBezTo>
                <a:cubicBezTo>
                  <a:pt x="228997" y="1236922"/>
                  <a:pt x="222845" y="1239474"/>
                  <a:pt x="216332" y="1239474"/>
                </a:cubicBezTo>
                <a:cubicBezTo>
                  <a:pt x="209818" y="1239474"/>
                  <a:pt x="203666" y="1236922"/>
                  <a:pt x="199324" y="1232547"/>
                </a:cubicBezTo>
                <a:cubicBezTo>
                  <a:pt x="194620" y="1227808"/>
                  <a:pt x="192087" y="1221611"/>
                  <a:pt x="192087" y="1215049"/>
                </a:cubicBezTo>
                <a:cubicBezTo>
                  <a:pt x="192087" y="1208852"/>
                  <a:pt x="194620" y="1202291"/>
                  <a:pt x="199324" y="1197916"/>
                </a:cubicBezTo>
                <a:cubicBezTo>
                  <a:pt x="203666" y="1193542"/>
                  <a:pt x="209818" y="1190625"/>
                  <a:pt x="216332" y="1190625"/>
                </a:cubicBezTo>
                <a:close/>
                <a:moveTo>
                  <a:pt x="927894" y="1060450"/>
                </a:moveTo>
                <a:cubicBezTo>
                  <a:pt x="934045" y="1060450"/>
                  <a:pt x="940559" y="1063002"/>
                  <a:pt x="944901" y="1067741"/>
                </a:cubicBezTo>
                <a:cubicBezTo>
                  <a:pt x="949605" y="1072116"/>
                  <a:pt x="952138" y="1078677"/>
                  <a:pt x="952138" y="1084874"/>
                </a:cubicBezTo>
                <a:cubicBezTo>
                  <a:pt x="952138" y="1091436"/>
                  <a:pt x="949605" y="1097633"/>
                  <a:pt x="944901" y="1102372"/>
                </a:cubicBezTo>
                <a:cubicBezTo>
                  <a:pt x="940559" y="1106747"/>
                  <a:pt x="934045" y="1109299"/>
                  <a:pt x="927894" y="1109299"/>
                </a:cubicBezTo>
                <a:cubicBezTo>
                  <a:pt x="921380" y="1109299"/>
                  <a:pt x="915229" y="1106747"/>
                  <a:pt x="910524" y="1102372"/>
                </a:cubicBezTo>
                <a:cubicBezTo>
                  <a:pt x="906182" y="1097633"/>
                  <a:pt x="903287" y="1091436"/>
                  <a:pt x="903287" y="1084874"/>
                </a:cubicBezTo>
                <a:cubicBezTo>
                  <a:pt x="903287" y="1078677"/>
                  <a:pt x="906182" y="1072116"/>
                  <a:pt x="910524" y="1067741"/>
                </a:cubicBezTo>
                <a:cubicBezTo>
                  <a:pt x="915229" y="1063002"/>
                  <a:pt x="921380" y="1060450"/>
                  <a:pt x="927894" y="1060450"/>
                </a:cubicBezTo>
                <a:close/>
                <a:moveTo>
                  <a:pt x="753142" y="1060450"/>
                </a:moveTo>
                <a:lnTo>
                  <a:pt x="835944" y="1060450"/>
                </a:lnTo>
                <a:cubicBezTo>
                  <a:pt x="849265" y="1060450"/>
                  <a:pt x="860065" y="1071386"/>
                  <a:pt x="860065" y="1084874"/>
                </a:cubicBezTo>
                <a:cubicBezTo>
                  <a:pt x="860065" y="1098362"/>
                  <a:pt x="849265" y="1109299"/>
                  <a:pt x="835944" y="1109299"/>
                </a:cubicBezTo>
                <a:lnTo>
                  <a:pt x="753142" y="1109299"/>
                </a:lnTo>
                <a:cubicBezTo>
                  <a:pt x="739462" y="1109299"/>
                  <a:pt x="728662" y="1098362"/>
                  <a:pt x="728662" y="1084874"/>
                </a:cubicBezTo>
                <a:cubicBezTo>
                  <a:pt x="728662" y="1071386"/>
                  <a:pt x="739462" y="1060450"/>
                  <a:pt x="753142" y="1060450"/>
                </a:cubicBezTo>
                <a:close/>
                <a:moveTo>
                  <a:pt x="463842" y="844951"/>
                </a:moveTo>
                <a:lnTo>
                  <a:pt x="463842" y="917678"/>
                </a:lnTo>
                <a:cubicBezTo>
                  <a:pt x="463842" y="936039"/>
                  <a:pt x="478981" y="951161"/>
                  <a:pt x="497725" y="951161"/>
                </a:cubicBezTo>
                <a:lnTo>
                  <a:pt x="604421" y="951161"/>
                </a:lnTo>
                <a:cubicBezTo>
                  <a:pt x="623165" y="951161"/>
                  <a:pt x="638305" y="936039"/>
                  <a:pt x="638305" y="917678"/>
                </a:cubicBezTo>
                <a:lnTo>
                  <a:pt x="638305" y="844951"/>
                </a:lnTo>
                <a:close/>
                <a:moveTo>
                  <a:pt x="280557" y="831046"/>
                </a:moveTo>
                <a:cubicBezTo>
                  <a:pt x="293130" y="827088"/>
                  <a:pt x="306781" y="834645"/>
                  <a:pt x="310373" y="847239"/>
                </a:cubicBezTo>
                <a:cubicBezTo>
                  <a:pt x="313966" y="860194"/>
                  <a:pt x="306781" y="873509"/>
                  <a:pt x="293849" y="877467"/>
                </a:cubicBezTo>
                <a:lnTo>
                  <a:pt x="178177" y="910933"/>
                </a:lnTo>
                <a:cubicBezTo>
                  <a:pt x="101662" y="932884"/>
                  <a:pt x="48496" y="1003775"/>
                  <a:pt x="48496" y="1083303"/>
                </a:cubicBezTo>
                <a:lnTo>
                  <a:pt x="48496" y="1191258"/>
                </a:lnTo>
                <a:lnTo>
                  <a:pt x="116031" y="1191258"/>
                </a:lnTo>
                <a:cubicBezTo>
                  <a:pt x="129322" y="1191258"/>
                  <a:pt x="140099" y="1202054"/>
                  <a:pt x="140099" y="1215368"/>
                </a:cubicBezTo>
                <a:cubicBezTo>
                  <a:pt x="140099" y="1228683"/>
                  <a:pt x="129322" y="1239478"/>
                  <a:pt x="116031" y="1239478"/>
                </a:cubicBezTo>
                <a:lnTo>
                  <a:pt x="24068" y="1239478"/>
                </a:lnTo>
                <a:cubicBezTo>
                  <a:pt x="10777" y="1239478"/>
                  <a:pt x="0" y="1228683"/>
                  <a:pt x="0" y="1215368"/>
                </a:cubicBezTo>
                <a:lnTo>
                  <a:pt x="0" y="1083303"/>
                </a:lnTo>
                <a:cubicBezTo>
                  <a:pt x="0" y="1033643"/>
                  <a:pt x="15806" y="986142"/>
                  <a:pt x="45981" y="946199"/>
                </a:cubicBezTo>
                <a:cubicBezTo>
                  <a:pt x="75438" y="906255"/>
                  <a:pt x="116749" y="878187"/>
                  <a:pt x="164527" y="864152"/>
                </a:cubicBezTo>
                <a:close/>
                <a:moveTo>
                  <a:pt x="796541" y="825924"/>
                </a:moveTo>
                <a:lnTo>
                  <a:pt x="928611" y="864076"/>
                </a:lnTo>
                <a:cubicBezTo>
                  <a:pt x="976472" y="878113"/>
                  <a:pt x="1017856" y="906187"/>
                  <a:pt x="1047725" y="946139"/>
                </a:cubicBezTo>
                <a:cubicBezTo>
                  <a:pt x="1077593" y="986091"/>
                  <a:pt x="1093427" y="1033601"/>
                  <a:pt x="1093427" y="1083271"/>
                </a:cubicBezTo>
                <a:lnTo>
                  <a:pt x="1093427" y="1215363"/>
                </a:lnTo>
                <a:cubicBezTo>
                  <a:pt x="1093427" y="1228681"/>
                  <a:pt x="1082631" y="1239478"/>
                  <a:pt x="1069317" y="1239478"/>
                </a:cubicBezTo>
                <a:lnTo>
                  <a:pt x="311448" y="1239478"/>
                </a:lnTo>
                <a:cubicBezTo>
                  <a:pt x="298133" y="1239478"/>
                  <a:pt x="287337" y="1228681"/>
                  <a:pt x="287337" y="1215363"/>
                </a:cubicBezTo>
                <a:cubicBezTo>
                  <a:pt x="287337" y="1202046"/>
                  <a:pt x="298133" y="1191248"/>
                  <a:pt x="311448" y="1191248"/>
                </a:cubicBezTo>
                <a:lnTo>
                  <a:pt x="1045206" y="1191248"/>
                </a:lnTo>
                <a:lnTo>
                  <a:pt x="1045206" y="1083271"/>
                </a:lnTo>
                <a:cubicBezTo>
                  <a:pt x="1045206" y="1003727"/>
                  <a:pt x="991586" y="932822"/>
                  <a:pt x="915296" y="910866"/>
                </a:cubicBezTo>
                <a:lnTo>
                  <a:pt x="782866" y="872354"/>
                </a:lnTo>
                <a:cubicBezTo>
                  <a:pt x="770271" y="868755"/>
                  <a:pt x="762714" y="855438"/>
                  <a:pt x="766673" y="842481"/>
                </a:cubicBezTo>
                <a:cubicBezTo>
                  <a:pt x="770271" y="829883"/>
                  <a:pt x="783586" y="822325"/>
                  <a:pt x="796541" y="825924"/>
                </a:cubicBezTo>
                <a:close/>
                <a:moveTo>
                  <a:pt x="546100" y="445197"/>
                </a:moveTo>
                <a:cubicBezTo>
                  <a:pt x="532362" y="445197"/>
                  <a:pt x="521517" y="456016"/>
                  <a:pt x="521517" y="469719"/>
                </a:cubicBezTo>
                <a:cubicBezTo>
                  <a:pt x="521517" y="483062"/>
                  <a:pt x="532362" y="493881"/>
                  <a:pt x="546100" y="493881"/>
                </a:cubicBezTo>
                <a:cubicBezTo>
                  <a:pt x="559114" y="493881"/>
                  <a:pt x="570321" y="483062"/>
                  <a:pt x="570321" y="469719"/>
                </a:cubicBezTo>
                <a:cubicBezTo>
                  <a:pt x="570321" y="456016"/>
                  <a:pt x="559114" y="445197"/>
                  <a:pt x="546100" y="445197"/>
                </a:cubicBezTo>
                <a:close/>
                <a:moveTo>
                  <a:pt x="546100" y="396875"/>
                </a:moveTo>
                <a:cubicBezTo>
                  <a:pt x="586227" y="396875"/>
                  <a:pt x="618763" y="429691"/>
                  <a:pt x="618763" y="469719"/>
                </a:cubicBezTo>
                <a:cubicBezTo>
                  <a:pt x="618763" y="509748"/>
                  <a:pt x="586227" y="542564"/>
                  <a:pt x="546100" y="542564"/>
                </a:cubicBezTo>
                <a:cubicBezTo>
                  <a:pt x="505972" y="542564"/>
                  <a:pt x="473075" y="509748"/>
                  <a:pt x="473075" y="469719"/>
                </a:cubicBezTo>
                <a:cubicBezTo>
                  <a:pt x="473075" y="429691"/>
                  <a:pt x="505972" y="396875"/>
                  <a:pt x="546100" y="396875"/>
                </a:cubicBezTo>
                <a:close/>
                <a:moveTo>
                  <a:pt x="548910" y="179253"/>
                </a:moveTo>
                <a:cubicBezTo>
                  <a:pt x="503132" y="179253"/>
                  <a:pt x="456272" y="191134"/>
                  <a:pt x="410854" y="214896"/>
                </a:cubicBezTo>
                <a:cubicBezTo>
                  <a:pt x="374087" y="234338"/>
                  <a:pt x="343809" y="264581"/>
                  <a:pt x="324344" y="302744"/>
                </a:cubicBezTo>
                <a:cubicBezTo>
                  <a:pt x="255857" y="435956"/>
                  <a:pt x="300193" y="552966"/>
                  <a:pt x="364715" y="618132"/>
                </a:cubicBezTo>
                <a:cubicBezTo>
                  <a:pt x="410133" y="664216"/>
                  <a:pt x="435005" y="726141"/>
                  <a:pt x="435005" y="792387"/>
                </a:cubicBezTo>
                <a:cubicBezTo>
                  <a:pt x="435005" y="794547"/>
                  <a:pt x="436807" y="796347"/>
                  <a:pt x="438970" y="796347"/>
                </a:cubicBezTo>
                <a:lnTo>
                  <a:pt x="524039" y="796347"/>
                </a:lnTo>
                <a:lnTo>
                  <a:pt x="524039" y="619572"/>
                </a:lnTo>
                <a:cubicBezTo>
                  <a:pt x="524039" y="606250"/>
                  <a:pt x="534853" y="595450"/>
                  <a:pt x="548190" y="595450"/>
                </a:cubicBezTo>
                <a:cubicBezTo>
                  <a:pt x="561887" y="595450"/>
                  <a:pt x="572340" y="606250"/>
                  <a:pt x="572340" y="619572"/>
                </a:cubicBezTo>
                <a:lnTo>
                  <a:pt x="572340" y="796347"/>
                </a:lnTo>
                <a:lnTo>
                  <a:pt x="658130" y="796347"/>
                </a:lnTo>
                <a:cubicBezTo>
                  <a:pt x="660293" y="796347"/>
                  <a:pt x="662095" y="794547"/>
                  <a:pt x="662095" y="792387"/>
                </a:cubicBezTo>
                <a:cubicBezTo>
                  <a:pt x="662095" y="726141"/>
                  <a:pt x="686967" y="664216"/>
                  <a:pt x="732745" y="617771"/>
                </a:cubicBezTo>
                <a:cubicBezTo>
                  <a:pt x="780326" y="569527"/>
                  <a:pt x="807000" y="505082"/>
                  <a:pt x="807000" y="437036"/>
                </a:cubicBezTo>
                <a:cubicBezTo>
                  <a:pt x="807000" y="345948"/>
                  <a:pt x="760140" y="263501"/>
                  <a:pt x="681920" y="216337"/>
                </a:cubicBezTo>
                <a:cubicBezTo>
                  <a:pt x="641188" y="191494"/>
                  <a:pt x="595770" y="179253"/>
                  <a:pt x="548910" y="179253"/>
                </a:cubicBezTo>
                <a:close/>
                <a:moveTo>
                  <a:pt x="552019" y="130649"/>
                </a:moveTo>
                <a:cubicBezTo>
                  <a:pt x="606404" y="131189"/>
                  <a:pt x="659391" y="145950"/>
                  <a:pt x="707152" y="174933"/>
                </a:cubicBezTo>
                <a:cubicBezTo>
                  <a:pt x="751489" y="201575"/>
                  <a:pt x="788616" y="239739"/>
                  <a:pt x="814569" y="284382"/>
                </a:cubicBezTo>
                <a:cubicBezTo>
                  <a:pt x="841243" y="330826"/>
                  <a:pt x="855301" y="383391"/>
                  <a:pt x="855301" y="437036"/>
                </a:cubicBezTo>
                <a:cubicBezTo>
                  <a:pt x="855301" y="518043"/>
                  <a:pt x="823941" y="594009"/>
                  <a:pt x="767349" y="651974"/>
                </a:cubicBezTo>
                <a:cubicBezTo>
                  <a:pt x="730582" y="689058"/>
                  <a:pt x="710397" y="739102"/>
                  <a:pt x="710397" y="792387"/>
                </a:cubicBezTo>
                <a:cubicBezTo>
                  <a:pt x="710397" y="810748"/>
                  <a:pt x="701025" y="826950"/>
                  <a:pt x="686606" y="836311"/>
                </a:cubicBezTo>
                <a:lnTo>
                  <a:pt x="686606" y="917678"/>
                </a:lnTo>
                <a:cubicBezTo>
                  <a:pt x="686606" y="963042"/>
                  <a:pt x="649839" y="999765"/>
                  <a:pt x="604421" y="999765"/>
                </a:cubicBezTo>
                <a:lnTo>
                  <a:pt x="497725" y="999765"/>
                </a:lnTo>
                <a:cubicBezTo>
                  <a:pt x="452307" y="999765"/>
                  <a:pt x="415180" y="963042"/>
                  <a:pt x="415180" y="917678"/>
                </a:cubicBezTo>
                <a:lnTo>
                  <a:pt x="415180" y="838831"/>
                </a:lnTo>
                <a:cubicBezTo>
                  <a:pt x="398238" y="830550"/>
                  <a:pt x="386703" y="812908"/>
                  <a:pt x="386703" y="792387"/>
                </a:cubicBezTo>
                <a:cubicBezTo>
                  <a:pt x="386703" y="739102"/>
                  <a:pt x="366518" y="689058"/>
                  <a:pt x="329751" y="651974"/>
                </a:cubicBezTo>
                <a:cubicBezTo>
                  <a:pt x="284693" y="606250"/>
                  <a:pt x="255857" y="548645"/>
                  <a:pt x="245764" y="485640"/>
                </a:cubicBezTo>
                <a:cubicBezTo>
                  <a:pt x="234950" y="417954"/>
                  <a:pt x="247206" y="347028"/>
                  <a:pt x="281089" y="280422"/>
                </a:cubicBezTo>
                <a:cubicBezTo>
                  <a:pt x="305240" y="233618"/>
                  <a:pt x="342367" y="196175"/>
                  <a:pt x="388506" y="171693"/>
                </a:cubicBezTo>
                <a:cubicBezTo>
                  <a:pt x="441854" y="143790"/>
                  <a:pt x="497635" y="130109"/>
                  <a:pt x="552019" y="130649"/>
                </a:cubicBezTo>
                <a:close/>
                <a:moveTo>
                  <a:pt x="755759" y="35763"/>
                </a:moveTo>
                <a:cubicBezTo>
                  <a:pt x="761920" y="35763"/>
                  <a:pt x="768171" y="38187"/>
                  <a:pt x="772993" y="43037"/>
                </a:cubicBezTo>
                <a:cubicBezTo>
                  <a:pt x="782280" y="52376"/>
                  <a:pt x="782280" y="67463"/>
                  <a:pt x="772993" y="77162"/>
                </a:cubicBezTo>
                <a:lnTo>
                  <a:pt x="725844" y="124219"/>
                </a:lnTo>
                <a:cubicBezTo>
                  <a:pt x="721201" y="128889"/>
                  <a:pt x="715129" y="131404"/>
                  <a:pt x="709057" y="131404"/>
                </a:cubicBezTo>
                <a:cubicBezTo>
                  <a:pt x="702984" y="131404"/>
                  <a:pt x="696555" y="128889"/>
                  <a:pt x="691912" y="124219"/>
                </a:cubicBezTo>
                <a:cubicBezTo>
                  <a:pt x="682625" y="114880"/>
                  <a:pt x="682625" y="99433"/>
                  <a:pt x="691912" y="90094"/>
                </a:cubicBezTo>
                <a:lnTo>
                  <a:pt x="739060" y="43037"/>
                </a:lnTo>
                <a:cubicBezTo>
                  <a:pt x="743525" y="38187"/>
                  <a:pt x="749597" y="35763"/>
                  <a:pt x="755759" y="35763"/>
                </a:cubicBezTo>
                <a:close/>
                <a:moveTo>
                  <a:pt x="337725" y="35754"/>
                </a:moveTo>
                <a:cubicBezTo>
                  <a:pt x="343962" y="35754"/>
                  <a:pt x="350199" y="38170"/>
                  <a:pt x="354899" y="43001"/>
                </a:cubicBezTo>
                <a:lnTo>
                  <a:pt x="402626" y="90245"/>
                </a:lnTo>
                <a:cubicBezTo>
                  <a:pt x="412388" y="99551"/>
                  <a:pt x="412388" y="114941"/>
                  <a:pt x="402626" y="124247"/>
                </a:cubicBezTo>
                <a:cubicBezTo>
                  <a:pt x="397926" y="128899"/>
                  <a:pt x="391779" y="131405"/>
                  <a:pt x="385632" y="131405"/>
                </a:cubicBezTo>
                <a:cubicBezTo>
                  <a:pt x="379486" y="131405"/>
                  <a:pt x="373339" y="128899"/>
                  <a:pt x="368277" y="124247"/>
                </a:cubicBezTo>
                <a:lnTo>
                  <a:pt x="320551" y="76645"/>
                </a:lnTo>
                <a:cubicBezTo>
                  <a:pt x="311150" y="67339"/>
                  <a:pt x="311150" y="51949"/>
                  <a:pt x="320551" y="43001"/>
                </a:cubicBezTo>
                <a:cubicBezTo>
                  <a:pt x="325251" y="38170"/>
                  <a:pt x="331488" y="35754"/>
                  <a:pt x="337725" y="35754"/>
                </a:cubicBezTo>
                <a:close/>
                <a:moveTo>
                  <a:pt x="548481" y="0"/>
                </a:moveTo>
                <a:cubicBezTo>
                  <a:pt x="561869" y="0"/>
                  <a:pt x="572725" y="10417"/>
                  <a:pt x="572725" y="24067"/>
                </a:cubicBezTo>
                <a:lnTo>
                  <a:pt x="572725" y="73998"/>
                </a:lnTo>
                <a:cubicBezTo>
                  <a:pt x="572725" y="87289"/>
                  <a:pt x="561869" y="98066"/>
                  <a:pt x="548481" y="98066"/>
                </a:cubicBezTo>
                <a:cubicBezTo>
                  <a:pt x="535092" y="98066"/>
                  <a:pt x="523875" y="87289"/>
                  <a:pt x="523875" y="73998"/>
                </a:cubicBezTo>
                <a:lnTo>
                  <a:pt x="523875" y="24067"/>
                </a:lnTo>
                <a:cubicBezTo>
                  <a:pt x="523875" y="10417"/>
                  <a:pt x="535092" y="0"/>
                  <a:pt x="548481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3" name="Freeform 12">
            <a:extLst>
              <a:ext uri="{FF2B5EF4-FFF2-40B4-BE49-F238E27FC236}">
                <a16:creationId xmlns:a16="http://schemas.microsoft.com/office/drawing/2014/main" id="{0C8B3BC8-A360-F849-B876-9D59796A4EA4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868554" y="2162934"/>
            <a:ext cx="675903" cy="676770"/>
          </a:xfrm>
          <a:custGeom>
            <a:avLst/>
            <a:gdLst>
              <a:gd name="connsiteX0" fmla="*/ 509588 w 1145140"/>
              <a:gd name="connsiteY0" fmla="*/ 613568 h 1146608"/>
              <a:gd name="connsiteX1" fmla="*/ 525002 w 1145140"/>
              <a:gd name="connsiteY1" fmla="*/ 619969 h 1146608"/>
              <a:gd name="connsiteX2" fmla="*/ 531455 w 1145140"/>
              <a:gd name="connsiteY2" fmla="*/ 635615 h 1146608"/>
              <a:gd name="connsiteX3" fmla="*/ 525002 w 1145140"/>
              <a:gd name="connsiteY3" fmla="*/ 651262 h 1146608"/>
              <a:gd name="connsiteX4" fmla="*/ 509588 w 1145140"/>
              <a:gd name="connsiteY4" fmla="*/ 657663 h 1146608"/>
              <a:gd name="connsiteX5" fmla="*/ 493816 w 1145140"/>
              <a:gd name="connsiteY5" fmla="*/ 651262 h 1146608"/>
              <a:gd name="connsiteX6" fmla="*/ 487363 w 1145140"/>
              <a:gd name="connsiteY6" fmla="*/ 635615 h 1146608"/>
              <a:gd name="connsiteX7" fmla="*/ 493816 w 1145140"/>
              <a:gd name="connsiteY7" fmla="*/ 619969 h 1146608"/>
              <a:gd name="connsiteX8" fmla="*/ 509588 w 1145140"/>
              <a:gd name="connsiteY8" fmla="*/ 613568 h 1146608"/>
              <a:gd name="connsiteX9" fmla="*/ 511833 w 1145140"/>
              <a:gd name="connsiteY9" fmla="*/ 503279 h 1146608"/>
              <a:gd name="connsiteX10" fmla="*/ 382644 w 1145140"/>
              <a:gd name="connsiteY10" fmla="*/ 633188 h 1146608"/>
              <a:gd name="connsiteX11" fmla="*/ 511833 w 1145140"/>
              <a:gd name="connsiteY11" fmla="*/ 763096 h 1146608"/>
              <a:gd name="connsiteX12" fmla="*/ 641741 w 1145140"/>
              <a:gd name="connsiteY12" fmla="*/ 633188 h 1146608"/>
              <a:gd name="connsiteX13" fmla="*/ 617991 w 1145140"/>
              <a:gd name="connsiteY13" fmla="*/ 558697 h 1146608"/>
              <a:gd name="connsiteX14" fmla="*/ 578407 w 1145140"/>
              <a:gd name="connsiteY14" fmla="*/ 598281 h 1146608"/>
              <a:gd name="connsiteX15" fmla="*/ 562573 w 1145140"/>
              <a:gd name="connsiteY15" fmla="*/ 604759 h 1146608"/>
              <a:gd name="connsiteX16" fmla="*/ 546739 w 1145140"/>
              <a:gd name="connsiteY16" fmla="*/ 598281 h 1146608"/>
              <a:gd name="connsiteX17" fmla="*/ 546739 w 1145140"/>
              <a:gd name="connsiteY17" fmla="*/ 566614 h 1146608"/>
              <a:gd name="connsiteX18" fmla="*/ 586683 w 1145140"/>
              <a:gd name="connsiteY18" fmla="*/ 527030 h 1146608"/>
              <a:gd name="connsiteX19" fmla="*/ 511833 w 1145140"/>
              <a:gd name="connsiteY19" fmla="*/ 503279 h 1146608"/>
              <a:gd name="connsiteX20" fmla="*/ 310177 w 1145140"/>
              <a:gd name="connsiteY20" fmla="*/ 407770 h 1146608"/>
              <a:gd name="connsiteX21" fmla="*/ 325982 w 1145140"/>
              <a:gd name="connsiteY21" fmla="*/ 414264 h 1146608"/>
              <a:gd name="connsiteX22" fmla="*/ 325982 w 1145140"/>
              <a:gd name="connsiteY22" fmla="*/ 446014 h 1146608"/>
              <a:gd name="connsiteX23" fmla="*/ 325982 w 1145140"/>
              <a:gd name="connsiteY23" fmla="*/ 446375 h 1146608"/>
              <a:gd name="connsiteX24" fmla="*/ 310177 w 1145140"/>
              <a:gd name="connsiteY24" fmla="*/ 452869 h 1146608"/>
              <a:gd name="connsiteX25" fmla="*/ 294012 w 1145140"/>
              <a:gd name="connsiteY25" fmla="*/ 446375 h 1146608"/>
              <a:gd name="connsiteX26" fmla="*/ 294012 w 1145140"/>
              <a:gd name="connsiteY26" fmla="*/ 414625 h 1146608"/>
              <a:gd name="connsiteX27" fmla="*/ 294371 w 1145140"/>
              <a:gd name="connsiteY27" fmla="*/ 414264 h 1146608"/>
              <a:gd name="connsiteX28" fmla="*/ 310177 w 1145140"/>
              <a:gd name="connsiteY28" fmla="*/ 407770 h 1146608"/>
              <a:gd name="connsiteX29" fmla="*/ 999799 w 1145140"/>
              <a:gd name="connsiteY29" fmla="*/ 176890 h 1146608"/>
              <a:gd name="connsiteX30" fmla="*/ 877447 w 1145140"/>
              <a:gd name="connsiteY30" fmla="*/ 299241 h 1146608"/>
              <a:gd name="connsiteX31" fmla="*/ 814472 w 1145140"/>
              <a:gd name="connsiteY31" fmla="*/ 362216 h 1146608"/>
              <a:gd name="connsiteX32" fmla="*/ 950498 w 1145140"/>
              <a:gd name="connsiteY32" fmla="*/ 362216 h 1146608"/>
              <a:gd name="connsiteX33" fmla="*/ 1093001 w 1145140"/>
              <a:gd name="connsiteY33" fmla="*/ 219713 h 1146608"/>
              <a:gd name="connsiteX34" fmla="*/ 1098039 w 1145140"/>
              <a:gd name="connsiteY34" fmla="*/ 192364 h 1146608"/>
              <a:gd name="connsiteX35" fmla="*/ 1075368 w 1145140"/>
              <a:gd name="connsiteY35" fmla="*/ 176890 h 1146608"/>
              <a:gd name="connsiteX36" fmla="*/ 444862 w 1145140"/>
              <a:gd name="connsiteY36" fmla="*/ 121443 h 1146608"/>
              <a:gd name="connsiteX37" fmla="*/ 579942 w 1145140"/>
              <a:gd name="connsiteY37" fmla="*/ 121443 h 1146608"/>
              <a:gd name="connsiteX38" fmla="*/ 622447 w 1145140"/>
              <a:gd name="connsiteY38" fmla="*/ 163918 h 1146608"/>
              <a:gd name="connsiteX39" fmla="*/ 622447 w 1145140"/>
              <a:gd name="connsiteY39" fmla="*/ 220792 h 1146608"/>
              <a:gd name="connsiteX40" fmla="*/ 655947 w 1145140"/>
              <a:gd name="connsiteY40" fmla="*/ 230870 h 1146608"/>
              <a:gd name="connsiteX41" fmla="*/ 669275 w 1145140"/>
              <a:gd name="connsiteY41" fmla="*/ 259667 h 1146608"/>
              <a:gd name="connsiteX42" fmla="*/ 640818 w 1145140"/>
              <a:gd name="connsiteY42" fmla="*/ 273346 h 1146608"/>
              <a:gd name="connsiteX43" fmla="*/ 609120 w 1145140"/>
              <a:gd name="connsiteY43" fmla="*/ 263627 h 1146608"/>
              <a:gd name="connsiteX44" fmla="*/ 577421 w 1145140"/>
              <a:gd name="connsiteY44" fmla="*/ 222591 h 1146608"/>
              <a:gd name="connsiteX45" fmla="*/ 577421 w 1145140"/>
              <a:gd name="connsiteY45" fmla="*/ 166438 h 1146608"/>
              <a:gd name="connsiteX46" fmla="*/ 447384 w 1145140"/>
              <a:gd name="connsiteY46" fmla="*/ 166438 h 1146608"/>
              <a:gd name="connsiteX47" fmla="*/ 447384 w 1145140"/>
              <a:gd name="connsiteY47" fmla="*/ 222591 h 1146608"/>
              <a:gd name="connsiteX48" fmla="*/ 415685 w 1145140"/>
              <a:gd name="connsiteY48" fmla="*/ 263627 h 1146608"/>
              <a:gd name="connsiteX49" fmla="*/ 319148 w 1145140"/>
              <a:gd name="connsiteY49" fmla="*/ 303942 h 1146608"/>
              <a:gd name="connsiteX50" fmla="*/ 267998 w 1145140"/>
              <a:gd name="connsiteY50" fmla="*/ 297103 h 1146608"/>
              <a:gd name="connsiteX51" fmla="*/ 228014 w 1145140"/>
              <a:gd name="connsiteY51" fmla="*/ 257148 h 1146608"/>
              <a:gd name="connsiteX52" fmla="*/ 135440 w 1145140"/>
              <a:gd name="connsiteY52" fmla="*/ 349297 h 1146608"/>
              <a:gd name="connsiteX53" fmla="*/ 175783 w 1145140"/>
              <a:gd name="connsiteY53" fmla="*/ 389613 h 1146608"/>
              <a:gd name="connsiteX54" fmla="*/ 182627 w 1145140"/>
              <a:gd name="connsiteY54" fmla="*/ 440727 h 1146608"/>
              <a:gd name="connsiteX55" fmla="*/ 142644 w 1145140"/>
              <a:gd name="connsiteY55" fmla="*/ 537196 h 1146608"/>
              <a:gd name="connsiteX56" fmla="*/ 101580 w 1145140"/>
              <a:gd name="connsiteY56" fmla="*/ 568513 h 1146608"/>
              <a:gd name="connsiteX57" fmla="*/ 44666 w 1145140"/>
              <a:gd name="connsiteY57" fmla="*/ 568513 h 1146608"/>
              <a:gd name="connsiteX58" fmla="*/ 44666 w 1145140"/>
              <a:gd name="connsiteY58" fmla="*/ 699178 h 1146608"/>
              <a:gd name="connsiteX59" fmla="*/ 101580 w 1145140"/>
              <a:gd name="connsiteY59" fmla="*/ 699178 h 1146608"/>
              <a:gd name="connsiteX60" fmla="*/ 142644 w 1145140"/>
              <a:gd name="connsiteY60" fmla="*/ 730495 h 1146608"/>
              <a:gd name="connsiteX61" fmla="*/ 182627 w 1145140"/>
              <a:gd name="connsiteY61" fmla="*/ 826964 h 1146608"/>
              <a:gd name="connsiteX62" fmla="*/ 175783 w 1145140"/>
              <a:gd name="connsiteY62" fmla="*/ 878078 h 1146608"/>
              <a:gd name="connsiteX63" fmla="*/ 135440 w 1145140"/>
              <a:gd name="connsiteY63" fmla="*/ 918394 h 1146608"/>
              <a:gd name="connsiteX64" fmla="*/ 228014 w 1145140"/>
              <a:gd name="connsiteY64" fmla="*/ 1010903 h 1146608"/>
              <a:gd name="connsiteX65" fmla="*/ 268358 w 1145140"/>
              <a:gd name="connsiteY65" fmla="*/ 970228 h 1146608"/>
              <a:gd name="connsiteX66" fmla="*/ 319508 w 1145140"/>
              <a:gd name="connsiteY66" fmla="*/ 963749 h 1146608"/>
              <a:gd name="connsiteX67" fmla="*/ 415685 w 1145140"/>
              <a:gd name="connsiteY67" fmla="*/ 1003704 h 1146608"/>
              <a:gd name="connsiteX68" fmla="*/ 447384 w 1145140"/>
              <a:gd name="connsiteY68" fmla="*/ 1044380 h 1146608"/>
              <a:gd name="connsiteX69" fmla="*/ 447384 w 1145140"/>
              <a:gd name="connsiteY69" fmla="*/ 1101613 h 1146608"/>
              <a:gd name="connsiteX70" fmla="*/ 577781 w 1145140"/>
              <a:gd name="connsiteY70" fmla="*/ 1101613 h 1146608"/>
              <a:gd name="connsiteX71" fmla="*/ 577781 w 1145140"/>
              <a:gd name="connsiteY71" fmla="*/ 1044740 h 1146608"/>
              <a:gd name="connsiteX72" fmla="*/ 609120 w 1145140"/>
              <a:gd name="connsiteY72" fmla="*/ 1003704 h 1146608"/>
              <a:gd name="connsiteX73" fmla="*/ 705657 w 1145140"/>
              <a:gd name="connsiteY73" fmla="*/ 964109 h 1146608"/>
              <a:gd name="connsiteX74" fmla="*/ 756807 w 1145140"/>
              <a:gd name="connsiteY74" fmla="*/ 970588 h 1146608"/>
              <a:gd name="connsiteX75" fmla="*/ 797150 w 1145140"/>
              <a:gd name="connsiteY75" fmla="*/ 1010903 h 1146608"/>
              <a:gd name="connsiteX76" fmla="*/ 889365 w 1145140"/>
              <a:gd name="connsiteY76" fmla="*/ 918394 h 1146608"/>
              <a:gd name="connsiteX77" fmla="*/ 849381 w 1145140"/>
              <a:gd name="connsiteY77" fmla="*/ 878438 h 1146608"/>
              <a:gd name="connsiteX78" fmla="*/ 842897 w 1145140"/>
              <a:gd name="connsiteY78" fmla="*/ 827324 h 1146608"/>
              <a:gd name="connsiteX79" fmla="*/ 882881 w 1145140"/>
              <a:gd name="connsiteY79" fmla="*/ 730495 h 1146608"/>
              <a:gd name="connsiteX80" fmla="*/ 923945 w 1145140"/>
              <a:gd name="connsiteY80" fmla="*/ 699178 h 1146608"/>
              <a:gd name="connsiteX81" fmla="*/ 980138 w 1145140"/>
              <a:gd name="connsiteY81" fmla="*/ 699178 h 1146608"/>
              <a:gd name="connsiteX82" fmla="*/ 980138 w 1145140"/>
              <a:gd name="connsiteY82" fmla="*/ 568513 h 1146608"/>
              <a:gd name="connsiteX83" fmla="*/ 923945 w 1145140"/>
              <a:gd name="connsiteY83" fmla="*/ 568513 h 1146608"/>
              <a:gd name="connsiteX84" fmla="*/ 882881 w 1145140"/>
              <a:gd name="connsiteY84" fmla="*/ 537196 h 1146608"/>
              <a:gd name="connsiteX85" fmla="*/ 873155 w 1145140"/>
              <a:gd name="connsiteY85" fmla="*/ 504800 h 1146608"/>
              <a:gd name="connsiteX86" fmla="*/ 886483 w 1145140"/>
              <a:gd name="connsiteY86" fmla="*/ 476363 h 1146608"/>
              <a:gd name="connsiteX87" fmla="*/ 915300 w 1145140"/>
              <a:gd name="connsiteY87" fmla="*/ 489681 h 1146608"/>
              <a:gd name="connsiteX88" fmla="*/ 925746 w 1145140"/>
              <a:gd name="connsiteY88" fmla="*/ 523878 h 1146608"/>
              <a:gd name="connsiteX89" fmla="*/ 982660 w 1145140"/>
              <a:gd name="connsiteY89" fmla="*/ 523878 h 1146608"/>
              <a:gd name="connsiteX90" fmla="*/ 1025165 w 1145140"/>
              <a:gd name="connsiteY90" fmla="*/ 565993 h 1146608"/>
              <a:gd name="connsiteX91" fmla="*/ 1025165 w 1145140"/>
              <a:gd name="connsiteY91" fmla="*/ 701698 h 1146608"/>
              <a:gd name="connsiteX92" fmla="*/ 982660 w 1145140"/>
              <a:gd name="connsiteY92" fmla="*/ 743813 h 1146608"/>
              <a:gd name="connsiteX93" fmla="*/ 925746 w 1145140"/>
              <a:gd name="connsiteY93" fmla="*/ 743813 h 1146608"/>
              <a:gd name="connsiteX94" fmla="*/ 882521 w 1145140"/>
              <a:gd name="connsiteY94" fmla="*/ 848202 h 1146608"/>
              <a:gd name="connsiteX95" fmla="*/ 922865 w 1145140"/>
              <a:gd name="connsiteY95" fmla="*/ 888517 h 1146608"/>
              <a:gd name="connsiteX96" fmla="*/ 922865 w 1145140"/>
              <a:gd name="connsiteY96" fmla="*/ 948271 h 1146608"/>
              <a:gd name="connsiteX97" fmla="*/ 827048 w 1145140"/>
              <a:gd name="connsiteY97" fmla="*/ 1044020 h 1146608"/>
              <a:gd name="connsiteX98" fmla="*/ 766893 w 1145140"/>
              <a:gd name="connsiteY98" fmla="*/ 1044020 h 1146608"/>
              <a:gd name="connsiteX99" fmla="*/ 726549 w 1145140"/>
              <a:gd name="connsiteY99" fmla="*/ 1003704 h 1146608"/>
              <a:gd name="connsiteX100" fmla="*/ 622447 w 1145140"/>
              <a:gd name="connsiteY100" fmla="*/ 1046539 h 1146608"/>
              <a:gd name="connsiteX101" fmla="*/ 622447 w 1145140"/>
              <a:gd name="connsiteY101" fmla="*/ 1104133 h 1146608"/>
              <a:gd name="connsiteX102" fmla="*/ 579942 w 1145140"/>
              <a:gd name="connsiteY102" fmla="*/ 1146608 h 1146608"/>
              <a:gd name="connsiteX103" fmla="*/ 444862 w 1145140"/>
              <a:gd name="connsiteY103" fmla="*/ 1146608 h 1146608"/>
              <a:gd name="connsiteX104" fmla="*/ 402357 w 1145140"/>
              <a:gd name="connsiteY104" fmla="*/ 1104133 h 1146608"/>
              <a:gd name="connsiteX105" fmla="*/ 402357 w 1145140"/>
              <a:gd name="connsiteY105" fmla="*/ 1046539 h 1146608"/>
              <a:gd name="connsiteX106" fmla="*/ 298616 w 1145140"/>
              <a:gd name="connsiteY106" fmla="*/ 1003344 h 1146608"/>
              <a:gd name="connsiteX107" fmla="*/ 257552 w 1145140"/>
              <a:gd name="connsiteY107" fmla="*/ 1044020 h 1146608"/>
              <a:gd name="connsiteX108" fmla="*/ 197756 w 1145140"/>
              <a:gd name="connsiteY108" fmla="*/ 1044020 h 1146608"/>
              <a:gd name="connsiteX109" fmla="*/ 101940 w 1145140"/>
              <a:gd name="connsiteY109" fmla="*/ 948271 h 1146608"/>
              <a:gd name="connsiteX110" fmla="*/ 101940 w 1145140"/>
              <a:gd name="connsiteY110" fmla="*/ 888517 h 1146608"/>
              <a:gd name="connsiteX111" fmla="*/ 143004 w 1145140"/>
              <a:gd name="connsiteY111" fmla="*/ 847842 h 1146608"/>
              <a:gd name="connsiteX112" fmla="*/ 99779 w 1145140"/>
              <a:gd name="connsiteY112" fmla="*/ 743813 h 1146608"/>
              <a:gd name="connsiteX113" fmla="*/ 42145 w 1145140"/>
              <a:gd name="connsiteY113" fmla="*/ 743813 h 1146608"/>
              <a:gd name="connsiteX114" fmla="*/ 0 w 1145140"/>
              <a:gd name="connsiteY114" fmla="*/ 701698 h 1146608"/>
              <a:gd name="connsiteX115" fmla="*/ 0 w 1145140"/>
              <a:gd name="connsiteY115" fmla="*/ 565993 h 1146608"/>
              <a:gd name="connsiteX116" fmla="*/ 42145 w 1145140"/>
              <a:gd name="connsiteY116" fmla="*/ 523878 h 1146608"/>
              <a:gd name="connsiteX117" fmla="*/ 99779 w 1145140"/>
              <a:gd name="connsiteY117" fmla="*/ 523878 h 1146608"/>
              <a:gd name="connsiteX118" fmla="*/ 142644 w 1145140"/>
              <a:gd name="connsiteY118" fmla="*/ 419849 h 1146608"/>
              <a:gd name="connsiteX119" fmla="*/ 101940 w 1145140"/>
              <a:gd name="connsiteY119" fmla="*/ 379174 h 1146608"/>
              <a:gd name="connsiteX120" fmla="*/ 101940 w 1145140"/>
              <a:gd name="connsiteY120" fmla="*/ 319421 h 1146608"/>
              <a:gd name="connsiteX121" fmla="*/ 197756 w 1145140"/>
              <a:gd name="connsiteY121" fmla="*/ 223671 h 1146608"/>
              <a:gd name="connsiteX122" fmla="*/ 257552 w 1145140"/>
              <a:gd name="connsiteY122" fmla="*/ 223671 h 1146608"/>
              <a:gd name="connsiteX123" fmla="*/ 298256 w 1145140"/>
              <a:gd name="connsiteY123" fmla="*/ 264347 h 1146608"/>
              <a:gd name="connsiteX124" fmla="*/ 402357 w 1145140"/>
              <a:gd name="connsiteY124" fmla="*/ 220792 h 1146608"/>
              <a:gd name="connsiteX125" fmla="*/ 402357 w 1145140"/>
              <a:gd name="connsiteY125" fmla="*/ 163918 h 1146608"/>
              <a:gd name="connsiteX126" fmla="*/ 444862 w 1145140"/>
              <a:gd name="connsiteY126" fmla="*/ 121443 h 1146608"/>
              <a:gd name="connsiteX127" fmla="*/ 941862 w 1145140"/>
              <a:gd name="connsiteY127" fmla="*/ 44823 h 1146608"/>
              <a:gd name="connsiteX128" fmla="*/ 925668 w 1145140"/>
              <a:gd name="connsiteY128" fmla="*/ 52380 h 1146608"/>
              <a:gd name="connsiteX129" fmla="*/ 782805 w 1145140"/>
              <a:gd name="connsiteY129" fmla="*/ 194883 h 1146608"/>
              <a:gd name="connsiteX130" fmla="*/ 782805 w 1145140"/>
              <a:gd name="connsiteY130" fmla="*/ 330548 h 1146608"/>
              <a:gd name="connsiteX131" fmla="*/ 845780 w 1145140"/>
              <a:gd name="connsiteY131" fmla="*/ 267574 h 1146608"/>
              <a:gd name="connsiteX132" fmla="*/ 968131 w 1145140"/>
              <a:gd name="connsiteY132" fmla="*/ 145222 h 1146608"/>
              <a:gd name="connsiteX133" fmla="*/ 968131 w 1145140"/>
              <a:gd name="connsiteY133" fmla="*/ 70013 h 1146608"/>
              <a:gd name="connsiteX134" fmla="*/ 952657 w 1145140"/>
              <a:gd name="connsiteY134" fmla="*/ 46982 h 1146608"/>
              <a:gd name="connsiteX135" fmla="*/ 941862 w 1145140"/>
              <a:gd name="connsiteY135" fmla="*/ 44823 h 1146608"/>
              <a:gd name="connsiteX136" fmla="*/ 929672 w 1145140"/>
              <a:gd name="connsiteY136" fmla="*/ 1280 h 1146608"/>
              <a:gd name="connsiteX137" fmla="*/ 969930 w 1145140"/>
              <a:gd name="connsiteY137" fmla="*/ 5598 h 1146608"/>
              <a:gd name="connsiteX138" fmla="*/ 1012753 w 1145140"/>
              <a:gd name="connsiteY138" fmla="*/ 69653 h 1146608"/>
              <a:gd name="connsiteX139" fmla="*/ 1013113 w 1145140"/>
              <a:gd name="connsiteY139" fmla="*/ 132268 h 1146608"/>
              <a:gd name="connsiteX140" fmla="*/ 1075368 w 1145140"/>
              <a:gd name="connsiteY140" fmla="*/ 132268 h 1146608"/>
              <a:gd name="connsiteX141" fmla="*/ 1139783 w 1145140"/>
              <a:gd name="connsiteY141" fmla="*/ 175450 h 1146608"/>
              <a:gd name="connsiteX142" fmla="*/ 1124669 w 1145140"/>
              <a:gd name="connsiteY142" fmla="*/ 251380 h 1146608"/>
              <a:gd name="connsiteX143" fmla="*/ 975328 w 1145140"/>
              <a:gd name="connsiteY143" fmla="*/ 400720 h 1146608"/>
              <a:gd name="connsiteX144" fmla="*/ 959854 w 1145140"/>
              <a:gd name="connsiteY144" fmla="*/ 407198 h 1146608"/>
              <a:gd name="connsiteX145" fmla="*/ 769490 w 1145140"/>
              <a:gd name="connsiteY145" fmla="*/ 407198 h 1146608"/>
              <a:gd name="connsiteX146" fmla="*/ 745380 w 1145140"/>
              <a:gd name="connsiteY146" fmla="*/ 431308 h 1146608"/>
              <a:gd name="connsiteX147" fmla="*/ 819870 w 1145140"/>
              <a:gd name="connsiteY147" fmla="*/ 610516 h 1146608"/>
              <a:gd name="connsiteX148" fmla="*/ 845780 w 1145140"/>
              <a:gd name="connsiteY148" fmla="*/ 610516 h 1146608"/>
              <a:gd name="connsiteX149" fmla="*/ 868451 w 1145140"/>
              <a:gd name="connsiteY149" fmla="*/ 633188 h 1146608"/>
              <a:gd name="connsiteX150" fmla="*/ 845780 w 1145140"/>
              <a:gd name="connsiteY150" fmla="*/ 655499 h 1146608"/>
              <a:gd name="connsiteX151" fmla="*/ 819870 w 1145140"/>
              <a:gd name="connsiteY151" fmla="*/ 655499 h 1146608"/>
              <a:gd name="connsiteX152" fmla="*/ 730266 w 1145140"/>
              <a:gd name="connsiteY152" fmla="*/ 851261 h 1146608"/>
              <a:gd name="connsiteX153" fmla="*/ 534144 w 1145140"/>
              <a:gd name="connsiteY153" fmla="*/ 941225 h 1146608"/>
              <a:gd name="connsiteX154" fmla="*/ 534144 w 1145140"/>
              <a:gd name="connsiteY154" fmla="*/ 967134 h 1146608"/>
              <a:gd name="connsiteX155" fmla="*/ 511833 w 1145140"/>
              <a:gd name="connsiteY155" fmla="*/ 989445 h 1146608"/>
              <a:gd name="connsiteX156" fmla="*/ 489882 w 1145140"/>
              <a:gd name="connsiteY156" fmla="*/ 967134 h 1146608"/>
              <a:gd name="connsiteX157" fmla="*/ 489882 w 1145140"/>
              <a:gd name="connsiteY157" fmla="*/ 941225 h 1146608"/>
              <a:gd name="connsiteX158" fmla="*/ 293760 w 1145140"/>
              <a:gd name="connsiteY158" fmla="*/ 851261 h 1146608"/>
              <a:gd name="connsiteX159" fmla="*/ 204515 w 1145140"/>
              <a:gd name="connsiteY159" fmla="*/ 655499 h 1146608"/>
              <a:gd name="connsiteX160" fmla="*/ 178246 w 1145140"/>
              <a:gd name="connsiteY160" fmla="*/ 655499 h 1146608"/>
              <a:gd name="connsiteX161" fmla="*/ 155575 w 1145140"/>
              <a:gd name="connsiteY161" fmla="*/ 633188 h 1146608"/>
              <a:gd name="connsiteX162" fmla="*/ 178246 w 1145140"/>
              <a:gd name="connsiteY162" fmla="*/ 610516 h 1146608"/>
              <a:gd name="connsiteX163" fmla="*/ 204515 w 1145140"/>
              <a:gd name="connsiteY163" fmla="*/ 610516 h 1146608"/>
              <a:gd name="connsiteX164" fmla="*/ 233304 w 1145140"/>
              <a:gd name="connsiteY164" fmla="*/ 500760 h 1146608"/>
              <a:gd name="connsiteX165" fmla="*/ 263172 w 1145140"/>
              <a:gd name="connsiteY165" fmla="*/ 489965 h 1146608"/>
              <a:gd name="connsiteX166" fmla="*/ 273608 w 1145140"/>
              <a:gd name="connsiteY166" fmla="*/ 519833 h 1146608"/>
              <a:gd name="connsiteX167" fmla="*/ 249137 w 1145140"/>
              <a:gd name="connsiteY167" fmla="*/ 610516 h 1146608"/>
              <a:gd name="connsiteX168" fmla="*/ 269289 w 1145140"/>
              <a:gd name="connsiteY168" fmla="*/ 610516 h 1146608"/>
              <a:gd name="connsiteX169" fmla="*/ 291601 w 1145140"/>
              <a:gd name="connsiteY169" fmla="*/ 633188 h 1146608"/>
              <a:gd name="connsiteX170" fmla="*/ 269289 w 1145140"/>
              <a:gd name="connsiteY170" fmla="*/ 655499 h 1146608"/>
              <a:gd name="connsiteX171" fmla="*/ 249497 w 1145140"/>
              <a:gd name="connsiteY171" fmla="*/ 655499 h 1146608"/>
              <a:gd name="connsiteX172" fmla="*/ 325787 w 1145140"/>
              <a:gd name="connsiteY172" fmla="*/ 819593 h 1146608"/>
              <a:gd name="connsiteX173" fmla="*/ 489882 w 1145140"/>
              <a:gd name="connsiteY173" fmla="*/ 895883 h 1146608"/>
              <a:gd name="connsiteX174" fmla="*/ 489882 w 1145140"/>
              <a:gd name="connsiteY174" fmla="*/ 876091 h 1146608"/>
              <a:gd name="connsiteX175" fmla="*/ 511833 w 1145140"/>
              <a:gd name="connsiteY175" fmla="*/ 853780 h 1146608"/>
              <a:gd name="connsiteX176" fmla="*/ 534144 w 1145140"/>
              <a:gd name="connsiteY176" fmla="*/ 876091 h 1146608"/>
              <a:gd name="connsiteX177" fmla="*/ 534144 w 1145140"/>
              <a:gd name="connsiteY177" fmla="*/ 895883 h 1146608"/>
              <a:gd name="connsiteX178" fmla="*/ 698599 w 1145140"/>
              <a:gd name="connsiteY178" fmla="*/ 819593 h 1146608"/>
              <a:gd name="connsiteX179" fmla="*/ 774888 w 1145140"/>
              <a:gd name="connsiteY179" fmla="*/ 655499 h 1146608"/>
              <a:gd name="connsiteX180" fmla="*/ 755096 w 1145140"/>
              <a:gd name="connsiteY180" fmla="*/ 655499 h 1146608"/>
              <a:gd name="connsiteX181" fmla="*/ 732785 w 1145140"/>
              <a:gd name="connsiteY181" fmla="*/ 633188 h 1146608"/>
              <a:gd name="connsiteX182" fmla="*/ 755096 w 1145140"/>
              <a:gd name="connsiteY182" fmla="*/ 610516 h 1146608"/>
              <a:gd name="connsiteX183" fmla="*/ 774888 w 1145140"/>
              <a:gd name="connsiteY183" fmla="*/ 610516 h 1146608"/>
              <a:gd name="connsiteX184" fmla="*/ 713713 w 1145140"/>
              <a:gd name="connsiteY184" fmla="*/ 462975 h 1146608"/>
              <a:gd name="connsiteX185" fmla="*/ 650018 w 1145140"/>
              <a:gd name="connsiteY185" fmla="*/ 526670 h 1146608"/>
              <a:gd name="connsiteX186" fmla="*/ 686364 w 1145140"/>
              <a:gd name="connsiteY186" fmla="*/ 633188 h 1146608"/>
              <a:gd name="connsiteX187" fmla="*/ 511833 w 1145140"/>
              <a:gd name="connsiteY187" fmla="*/ 807358 h 1146608"/>
              <a:gd name="connsiteX188" fmla="*/ 337662 w 1145140"/>
              <a:gd name="connsiteY188" fmla="*/ 633188 h 1146608"/>
              <a:gd name="connsiteX189" fmla="*/ 511833 w 1145140"/>
              <a:gd name="connsiteY189" fmla="*/ 458657 h 1146608"/>
              <a:gd name="connsiteX190" fmla="*/ 618351 w 1145140"/>
              <a:gd name="connsiteY190" fmla="*/ 495003 h 1146608"/>
              <a:gd name="connsiteX191" fmla="*/ 682045 w 1145140"/>
              <a:gd name="connsiteY191" fmla="*/ 431308 h 1146608"/>
              <a:gd name="connsiteX192" fmla="*/ 534144 w 1145140"/>
              <a:gd name="connsiteY192" fmla="*/ 370133 h 1146608"/>
              <a:gd name="connsiteX193" fmla="*/ 534144 w 1145140"/>
              <a:gd name="connsiteY193" fmla="*/ 389925 h 1146608"/>
              <a:gd name="connsiteX194" fmla="*/ 511833 w 1145140"/>
              <a:gd name="connsiteY194" fmla="*/ 412236 h 1146608"/>
              <a:gd name="connsiteX195" fmla="*/ 489882 w 1145140"/>
              <a:gd name="connsiteY195" fmla="*/ 389925 h 1146608"/>
              <a:gd name="connsiteX196" fmla="*/ 489882 w 1145140"/>
              <a:gd name="connsiteY196" fmla="*/ 370133 h 1146608"/>
              <a:gd name="connsiteX197" fmla="*/ 395239 w 1145140"/>
              <a:gd name="connsiteY197" fmla="*/ 396042 h 1146608"/>
              <a:gd name="connsiteX198" fmla="*/ 365371 w 1145140"/>
              <a:gd name="connsiteY198" fmla="*/ 385966 h 1146608"/>
              <a:gd name="connsiteX199" fmla="*/ 375447 w 1145140"/>
              <a:gd name="connsiteY199" fmla="*/ 356098 h 1146608"/>
              <a:gd name="connsiteX200" fmla="*/ 489882 w 1145140"/>
              <a:gd name="connsiteY200" fmla="*/ 325151 h 1146608"/>
              <a:gd name="connsiteX201" fmla="*/ 489882 w 1145140"/>
              <a:gd name="connsiteY201" fmla="*/ 298881 h 1146608"/>
              <a:gd name="connsiteX202" fmla="*/ 511833 w 1145140"/>
              <a:gd name="connsiteY202" fmla="*/ 276570 h 1146608"/>
              <a:gd name="connsiteX203" fmla="*/ 534144 w 1145140"/>
              <a:gd name="connsiteY203" fmla="*/ 298881 h 1146608"/>
              <a:gd name="connsiteX204" fmla="*/ 534144 w 1145140"/>
              <a:gd name="connsiteY204" fmla="*/ 325151 h 1146608"/>
              <a:gd name="connsiteX205" fmla="*/ 713713 w 1145140"/>
              <a:gd name="connsiteY205" fmla="*/ 399641 h 1146608"/>
              <a:gd name="connsiteX206" fmla="*/ 738183 w 1145140"/>
              <a:gd name="connsiteY206" fmla="*/ 375530 h 1146608"/>
              <a:gd name="connsiteX207" fmla="*/ 738183 w 1145140"/>
              <a:gd name="connsiteY207" fmla="*/ 185526 h 1146608"/>
              <a:gd name="connsiteX208" fmla="*/ 744660 w 1145140"/>
              <a:gd name="connsiteY208" fmla="*/ 169693 h 1146608"/>
              <a:gd name="connsiteX209" fmla="*/ 894001 w 1145140"/>
              <a:gd name="connsiteY209" fmla="*/ 20712 h 1146608"/>
              <a:gd name="connsiteX210" fmla="*/ 929672 w 1145140"/>
              <a:gd name="connsiteY210" fmla="*/ 1280 h 11466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</a:cxnLst>
            <a:rect l="l" t="t" r="r" b="b"/>
            <a:pathLst>
              <a:path w="1145140" h="1146608">
                <a:moveTo>
                  <a:pt x="509588" y="613568"/>
                </a:moveTo>
                <a:cubicBezTo>
                  <a:pt x="515324" y="613568"/>
                  <a:pt x="521059" y="615702"/>
                  <a:pt x="525002" y="619969"/>
                </a:cubicBezTo>
                <a:cubicBezTo>
                  <a:pt x="529304" y="624236"/>
                  <a:pt x="531455" y="629926"/>
                  <a:pt x="531455" y="635615"/>
                </a:cubicBezTo>
                <a:cubicBezTo>
                  <a:pt x="531455" y="641661"/>
                  <a:pt x="529304" y="646995"/>
                  <a:pt x="525002" y="651262"/>
                </a:cubicBezTo>
                <a:cubicBezTo>
                  <a:pt x="521059" y="655173"/>
                  <a:pt x="515324" y="657663"/>
                  <a:pt x="509588" y="657663"/>
                </a:cubicBezTo>
                <a:cubicBezTo>
                  <a:pt x="503494" y="657663"/>
                  <a:pt x="497759" y="655173"/>
                  <a:pt x="493816" y="651262"/>
                </a:cubicBezTo>
                <a:cubicBezTo>
                  <a:pt x="489873" y="646995"/>
                  <a:pt x="487363" y="641661"/>
                  <a:pt x="487363" y="635615"/>
                </a:cubicBezTo>
                <a:cubicBezTo>
                  <a:pt x="487363" y="629926"/>
                  <a:pt x="489873" y="624236"/>
                  <a:pt x="493816" y="619969"/>
                </a:cubicBezTo>
                <a:cubicBezTo>
                  <a:pt x="497759" y="615702"/>
                  <a:pt x="503494" y="613568"/>
                  <a:pt x="509588" y="613568"/>
                </a:cubicBezTo>
                <a:close/>
                <a:moveTo>
                  <a:pt x="511833" y="503279"/>
                </a:moveTo>
                <a:cubicBezTo>
                  <a:pt x="440581" y="503279"/>
                  <a:pt x="382644" y="561576"/>
                  <a:pt x="382644" y="633188"/>
                </a:cubicBezTo>
                <a:cubicBezTo>
                  <a:pt x="382644" y="704439"/>
                  <a:pt x="440581" y="763096"/>
                  <a:pt x="511833" y="763096"/>
                </a:cubicBezTo>
                <a:cubicBezTo>
                  <a:pt x="583445" y="763096"/>
                  <a:pt x="641741" y="704439"/>
                  <a:pt x="641741" y="633188"/>
                </a:cubicBezTo>
                <a:cubicBezTo>
                  <a:pt x="641741" y="605478"/>
                  <a:pt x="632745" y="579929"/>
                  <a:pt x="617991" y="558697"/>
                </a:cubicBezTo>
                <a:lnTo>
                  <a:pt x="578407" y="598281"/>
                </a:lnTo>
                <a:cubicBezTo>
                  <a:pt x="574088" y="602600"/>
                  <a:pt x="568331" y="604759"/>
                  <a:pt x="562573" y="604759"/>
                </a:cubicBezTo>
                <a:cubicBezTo>
                  <a:pt x="556815" y="604759"/>
                  <a:pt x="551417" y="602600"/>
                  <a:pt x="546739" y="598281"/>
                </a:cubicBezTo>
                <a:cubicBezTo>
                  <a:pt x="538103" y="589645"/>
                  <a:pt x="538103" y="575251"/>
                  <a:pt x="546739" y="566614"/>
                </a:cubicBezTo>
                <a:lnTo>
                  <a:pt x="586683" y="527030"/>
                </a:lnTo>
                <a:cubicBezTo>
                  <a:pt x="565452" y="512276"/>
                  <a:pt x="539542" y="503279"/>
                  <a:pt x="511833" y="503279"/>
                </a:cubicBezTo>
                <a:close/>
                <a:moveTo>
                  <a:pt x="310177" y="407770"/>
                </a:moveTo>
                <a:cubicBezTo>
                  <a:pt x="315924" y="407770"/>
                  <a:pt x="321672" y="409934"/>
                  <a:pt x="325982" y="414264"/>
                </a:cubicBezTo>
                <a:cubicBezTo>
                  <a:pt x="334604" y="423284"/>
                  <a:pt x="334604" y="437355"/>
                  <a:pt x="325982" y="446014"/>
                </a:cubicBezTo>
                <a:lnTo>
                  <a:pt x="325982" y="446375"/>
                </a:lnTo>
                <a:cubicBezTo>
                  <a:pt x="321672" y="450704"/>
                  <a:pt x="315565" y="452869"/>
                  <a:pt x="310177" y="452869"/>
                </a:cubicBezTo>
                <a:cubicBezTo>
                  <a:pt x="304429" y="452869"/>
                  <a:pt x="298682" y="450704"/>
                  <a:pt x="294012" y="446375"/>
                </a:cubicBezTo>
                <a:cubicBezTo>
                  <a:pt x="285750" y="437716"/>
                  <a:pt x="285750" y="423284"/>
                  <a:pt x="294012" y="414625"/>
                </a:cubicBezTo>
                <a:lnTo>
                  <a:pt x="294371" y="414264"/>
                </a:lnTo>
                <a:cubicBezTo>
                  <a:pt x="298682" y="409934"/>
                  <a:pt x="304429" y="407770"/>
                  <a:pt x="310177" y="407770"/>
                </a:cubicBezTo>
                <a:close/>
                <a:moveTo>
                  <a:pt x="999799" y="176890"/>
                </a:moveTo>
                <a:lnTo>
                  <a:pt x="877447" y="299241"/>
                </a:lnTo>
                <a:lnTo>
                  <a:pt x="814472" y="362216"/>
                </a:lnTo>
                <a:lnTo>
                  <a:pt x="950498" y="362216"/>
                </a:lnTo>
                <a:lnTo>
                  <a:pt x="1093001" y="219713"/>
                </a:lnTo>
                <a:cubicBezTo>
                  <a:pt x="1103797" y="208917"/>
                  <a:pt x="1099839" y="195962"/>
                  <a:pt x="1098039" y="192364"/>
                </a:cubicBezTo>
                <a:cubicBezTo>
                  <a:pt x="1096960" y="188765"/>
                  <a:pt x="1090842" y="176890"/>
                  <a:pt x="1075368" y="176890"/>
                </a:cubicBezTo>
                <a:close/>
                <a:moveTo>
                  <a:pt x="444862" y="121443"/>
                </a:moveTo>
                <a:lnTo>
                  <a:pt x="579942" y="121443"/>
                </a:lnTo>
                <a:cubicBezTo>
                  <a:pt x="603356" y="121443"/>
                  <a:pt x="622447" y="140521"/>
                  <a:pt x="622447" y="163918"/>
                </a:cubicBezTo>
                <a:lnTo>
                  <a:pt x="622447" y="220792"/>
                </a:lnTo>
                <a:cubicBezTo>
                  <a:pt x="633614" y="223671"/>
                  <a:pt x="644781" y="227271"/>
                  <a:pt x="655947" y="230870"/>
                </a:cubicBezTo>
                <a:cubicBezTo>
                  <a:pt x="667474" y="235190"/>
                  <a:pt x="673598" y="247789"/>
                  <a:pt x="669275" y="259667"/>
                </a:cubicBezTo>
                <a:cubicBezTo>
                  <a:pt x="665313" y="271186"/>
                  <a:pt x="652345" y="277305"/>
                  <a:pt x="640818" y="273346"/>
                </a:cubicBezTo>
                <a:cubicBezTo>
                  <a:pt x="630372" y="269386"/>
                  <a:pt x="619926" y="266147"/>
                  <a:pt x="609120" y="263627"/>
                </a:cubicBezTo>
                <a:cubicBezTo>
                  <a:pt x="590749" y="258587"/>
                  <a:pt x="577421" y="241669"/>
                  <a:pt x="577421" y="222591"/>
                </a:cubicBezTo>
                <a:lnTo>
                  <a:pt x="577421" y="166438"/>
                </a:lnTo>
                <a:lnTo>
                  <a:pt x="447384" y="166438"/>
                </a:lnTo>
                <a:lnTo>
                  <a:pt x="447384" y="222591"/>
                </a:lnTo>
                <a:cubicBezTo>
                  <a:pt x="447384" y="242029"/>
                  <a:pt x="434416" y="258587"/>
                  <a:pt x="415685" y="263627"/>
                </a:cubicBezTo>
                <a:cubicBezTo>
                  <a:pt x="381825" y="272266"/>
                  <a:pt x="349406" y="285944"/>
                  <a:pt x="319148" y="303942"/>
                </a:cubicBezTo>
                <a:cubicBezTo>
                  <a:pt x="302578" y="313301"/>
                  <a:pt x="281686" y="310782"/>
                  <a:pt x="267998" y="297103"/>
                </a:cubicBezTo>
                <a:lnTo>
                  <a:pt x="228014" y="257148"/>
                </a:lnTo>
                <a:lnTo>
                  <a:pt x="135440" y="349297"/>
                </a:lnTo>
                <a:lnTo>
                  <a:pt x="175783" y="389613"/>
                </a:lnTo>
                <a:cubicBezTo>
                  <a:pt x="189472" y="402931"/>
                  <a:pt x="191993" y="424169"/>
                  <a:pt x="182627" y="440727"/>
                </a:cubicBezTo>
                <a:cubicBezTo>
                  <a:pt x="164617" y="470964"/>
                  <a:pt x="151289" y="503360"/>
                  <a:pt x="142644" y="537196"/>
                </a:cubicBezTo>
                <a:cubicBezTo>
                  <a:pt x="137601" y="555914"/>
                  <a:pt x="121031" y="568513"/>
                  <a:pt x="101580" y="568513"/>
                </a:cubicBezTo>
                <a:lnTo>
                  <a:pt x="44666" y="568513"/>
                </a:lnTo>
                <a:lnTo>
                  <a:pt x="44666" y="699178"/>
                </a:lnTo>
                <a:lnTo>
                  <a:pt x="101580" y="699178"/>
                </a:lnTo>
                <a:cubicBezTo>
                  <a:pt x="121031" y="699178"/>
                  <a:pt x="137961" y="712137"/>
                  <a:pt x="142644" y="730495"/>
                </a:cubicBezTo>
                <a:cubicBezTo>
                  <a:pt x="151289" y="764331"/>
                  <a:pt x="164977" y="796727"/>
                  <a:pt x="182627" y="826964"/>
                </a:cubicBezTo>
                <a:cubicBezTo>
                  <a:pt x="191993" y="843522"/>
                  <a:pt x="189832" y="864400"/>
                  <a:pt x="175783" y="878078"/>
                </a:cubicBezTo>
                <a:lnTo>
                  <a:pt x="135440" y="918394"/>
                </a:lnTo>
                <a:lnTo>
                  <a:pt x="228014" y="1010903"/>
                </a:lnTo>
                <a:lnTo>
                  <a:pt x="268358" y="970228"/>
                </a:lnTo>
                <a:cubicBezTo>
                  <a:pt x="282046" y="956910"/>
                  <a:pt x="302938" y="954030"/>
                  <a:pt x="319508" y="963749"/>
                </a:cubicBezTo>
                <a:cubicBezTo>
                  <a:pt x="349406" y="981387"/>
                  <a:pt x="382185" y="994705"/>
                  <a:pt x="415685" y="1003704"/>
                </a:cubicBezTo>
                <a:cubicBezTo>
                  <a:pt x="434416" y="1008744"/>
                  <a:pt x="447384" y="1025302"/>
                  <a:pt x="447384" y="1044380"/>
                </a:cubicBezTo>
                <a:lnTo>
                  <a:pt x="447384" y="1101613"/>
                </a:lnTo>
                <a:lnTo>
                  <a:pt x="577781" y="1101613"/>
                </a:lnTo>
                <a:lnTo>
                  <a:pt x="577781" y="1044740"/>
                </a:lnTo>
                <a:cubicBezTo>
                  <a:pt x="577781" y="1025662"/>
                  <a:pt x="590749" y="1008744"/>
                  <a:pt x="609120" y="1003704"/>
                </a:cubicBezTo>
                <a:cubicBezTo>
                  <a:pt x="642980" y="995065"/>
                  <a:pt x="675399" y="981387"/>
                  <a:pt x="705657" y="964109"/>
                </a:cubicBezTo>
                <a:cubicBezTo>
                  <a:pt x="722226" y="954390"/>
                  <a:pt x="743119" y="956910"/>
                  <a:pt x="756807" y="970588"/>
                </a:cubicBezTo>
                <a:lnTo>
                  <a:pt x="797150" y="1010903"/>
                </a:lnTo>
                <a:lnTo>
                  <a:pt x="889365" y="918394"/>
                </a:lnTo>
                <a:lnTo>
                  <a:pt x="849381" y="878438"/>
                </a:lnTo>
                <a:cubicBezTo>
                  <a:pt x="835693" y="864760"/>
                  <a:pt x="833172" y="843882"/>
                  <a:pt x="842897" y="827324"/>
                </a:cubicBezTo>
                <a:cubicBezTo>
                  <a:pt x="860548" y="797087"/>
                  <a:pt x="873876" y="764691"/>
                  <a:pt x="882881" y="730495"/>
                </a:cubicBezTo>
                <a:cubicBezTo>
                  <a:pt x="887564" y="712137"/>
                  <a:pt x="904494" y="699178"/>
                  <a:pt x="923945" y="699178"/>
                </a:cubicBezTo>
                <a:lnTo>
                  <a:pt x="980138" y="699178"/>
                </a:lnTo>
                <a:lnTo>
                  <a:pt x="980138" y="568513"/>
                </a:lnTo>
                <a:lnTo>
                  <a:pt x="923945" y="568513"/>
                </a:lnTo>
                <a:cubicBezTo>
                  <a:pt x="904494" y="568513"/>
                  <a:pt x="887924" y="555914"/>
                  <a:pt x="882881" y="537196"/>
                </a:cubicBezTo>
                <a:cubicBezTo>
                  <a:pt x="879999" y="526037"/>
                  <a:pt x="876757" y="515239"/>
                  <a:pt x="873155" y="504800"/>
                </a:cubicBezTo>
                <a:cubicBezTo>
                  <a:pt x="868833" y="493281"/>
                  <a:pt x="874956" y="480323"/>
                  <a:pt x="886483" y="476363"/>
                </a:cubicBezTo>
                <a:cubicBezTo>
                  <a:pt x="898370" y="472043"/>
                  <a:pt x="910978" y="478163"/>
                  <a:pt x="915300" y="489681"/>
                </a:cubicBezTo>
                <a:cubicBezTo>
                  <a:pt x="919263" y="500840"/>
                  <a:pt x="922865" y="512359"/>
                  <a:pt x="925746" y="523878"/>
                </a:cubicBezTo>
                <a:lnTo>
                  <a:pt x="982660" y="523878"/>
                </a:lnTo>
                <a:cubicBezTo>
                  <a:pt x="1006074" y="523878"/>
                  <a:pt x="1025165" y="542955"/>
                  <a:pt x="1025165" y="565993"/>
                </a:cubicBezTo>
                <a:lnTo>
                  <a:pt x="1025165" y="701698"/>
                </a:lnTo>
                <a:cubicBezTo>
                  <a:pt x="1025165" y="724736"/>
                  <a:pt x="1006074" y="743813"/>
                  <a:pt x="982660" y="743813"/>
                </a:cubicBezTo>
                <a:lnTo>
                  <a:pt x="925746" y="743813"/>
                </a:lnTo>
                <a:cubicBezTo>
                  <a:pt x="916021" y="780529"/>
                  <a:pt x="901252" y="815445"/>
                  <a:pt x="882521" y="848202"/>
                </a:cubicBezTo>
                <a:lnTo>
                  <a:pt x="922865" y="888517"/>
                </a:lnTo>
                <a:cubicBezTo>
                  <a:pt x="939074" y="905075"/>
                  <a:pt x="939074" y="931712"/>
                  <a:pt x="922865" y="948271"/>
                </a:cubicBezTo>
                <a:lnTo>
                  <a:pt x="827048" y="1044020"/>
                </a:lnTo>
                <a:cubicBezTo>
                  <a:pt x="810478" y="1060578"/>
                  <a:pt x="783462" y="1060578"/>
                  <a:pt x="766893" y="1044020"/>
                </a:cubicBezTo>
                <a:lnTo>
                  <a:pt x="726549" y="1003704"/>
                </a:lnTo>
                <a:cubicBezTo>
                  <a:pt x="693770" y="1022422"/>
                  <a:pt x="658829" y="1036821"/>
                  <a:pt x="622447" y="1046539"/>
                </a:cubicBezTo>
                <a:lnTo>
                  <a:pt x="622447" y="1104133"/>
                </a:lnTo>
                <a:cubicBezTo>
                  <a:pt x="622447" y="1127530"/>
                  <a:pt x="603356" y="1146608"/>
                  <a:pt x="579942" y="1146608"/>
                </a:cubicBezTo>
                <a:lnTo>
                  <a:pt x="444862" y="1146608"/>
                </a:lnTo>
                <a:cubicBezTo>
                  <a:pt x="421448" y="1146608"/>
                  <a:pt x="402357" y="1127530"/>
                  <a:pt x="402357" y="1104133"/>
                </a:cubicBezTo>
                <a:lnTo>
                  <a:pt x="402357" y="1046539"/>
                </a:lnTo>
                <a:cubicBezTo>
                  <a:pt x="365976" y="1036821"/>
                  <a:pt x="331035" y="1022422"/>
                  <a:pt x="298616" y="1003344"/>
                </a:cubicBezTo>
                <a:lnTo>
                  <a:pt x="257552" y="1044020"/>
                </a:lnTo>
                <a:cubicBezTo>
                  <a:pt x="241342" y="1060578"/>
                  <a:pt x="214326" y="1060578"/>
                  <a:pt x="197756" y="1044020"/>
                </a:cubicBezTo>
                <a:lnTo>
                  <a:pt x="101940" y="948271"/>
                </a:lnTo>
                <a:cubicBezTo>
                  <a:pt x="85730" y="931712"/>
                  <a:pt x="85730" y="905075"/>
                  <a:pt x="101940" y="888517"/>
                </a:cubicBezTo>
                <a:lnTo>
                  <a:pt x="143004" y="847842"/>
                </a:lnTo>
                <a:cubicBezTo>
                  <a:pt x="123913" y="815085"/>
                  <a:pt x="109504" y="780169"/>
                  <a:pt x="99779" y="743813"/>
                </a:cubicBezTo>
                <a:lnTo>
                  <a:pt x="42145" y="743813"/>
                </a:lnTo>
                <a:cubicBezTo>
                  <a:pt x="19091" y="743813"/>
                  <a:pt x="0" y="724736"/>
                  <a:pt x="0" y="701698"/>
                </a:cubicBezTo>
                <a:lnTo>
                  <a:pt x="0" y="565993"/>
                </a:lnTo>
                <a:cubicBezTo>
                  <a:pt x="0" y="542955"/>
                  <a:pt x="19091" y="523878"/>
                  <a:pt x="42145" y="523878"/>
                </a:cubicBezTo>
                <a:lnTo>
                  <a:pt x="99779" y="523878"/>
                </a:lnTo>
                <a:cubicBezTo>
                  <a:pt x="109144" y="487522"/>
                  <a:pt x="123913" y="452606"/>
                  <a:pt x="142644" y="419849"/>
                </a:cubicBezTo>
                <a:lnTo>
                  <a:pt x="101940" y="379174"/>
                </a:lnTo>
                <a:cubicBezTo>
                  <a:pt x="85730" y="362616"/>
                  <a:pt x="85730" y="335979"/>
                  <a:pt x="101940" y="319421"/>
                </a:cubicBezTo>
                <a:lnTo>
                  <a:pt x="197756" y="223671"/>
                </a:lnTo>
                <a:cubicBezTo>
                  <a:pt x="214326" y="207113"/>
                  <a:pt x="241342" y="207113"/>
                  <a:pt x="257552" y="223671"/>
                </a:cubicBezTo>
                <a:lnTo>
                  <a:pt x="298256" y="264347"/>
                </a:lnTo>
                <a:cubicBezTo>
                  <a:pt x="331035" y="245269"/>
                  <a:pt x="365976" y="230511"/>
                  <a:pt x="402357" y="220792"/>
                </a:cubicBezTo>
                <a:lnTo>
                  <a:pt x="402357" y="163918"/>
                </a:lnTo>
                <a:cubicBezTo>
                  <a:pt x="402357" y="140521"/>
                  <a:pt x="421448" y="121443"/>
                  <a:pt x="444862" y="121443"/>
                </a:cubicBezTo>
                <a:close/>
                <a:moveTo>
                  <a:pt x="941862" y="44823"/>
                </a:moveTo>
                <a:cubicBezTo>
                  <a:pt x="936914" y="45003"/>
                  <a:pt x="931066" y="46802"/>
                  <a:pt x="925668" y="52380"/>
                </a:cubicBezTo>
                <a:lnTo>
                  <a:pt x="782805" y="194883"/>
                </a:lnTo>
                <a:lnTo>
                  <a:pt x="782805" y="330548"/>
                </a:lnTo>
                <a:lnTo>
                  <a:pt x="845780" y="267574"/>
                </a:lnTo>
                <a:lnTo>
                  <a:pt x="968131" y="145222"/>
                </a:lnTo>
                <a:lnTo>
                  <a:pt x="968131" y="70013"/>
                </a:lnTo>
                <a:cubicBezTo>
                  <a:pt x="968131" y="54539"/>
                  <a:pt x="956256" y="48421"/>
                  <a:pt x="952657" y="46982"/>
                </a:cubicBezTo>
                <a:cubicBezTo>
                  <a:pt x="950858" y="46082"/>
                  <a:pt x="946810" y="44643"/>
                  <a:pt x="941862" y="44823"/>
                </a:cubicBezTo>
                <a:close/>
                <a:moveTo>
                  <a:pt x="929672" y="1280"/>
                </a:moveTo>
                <a:cubicBezTo>
                  <a:pt x="942761" y="-1329"/>
                  <a:pt x="956616" y="21"/>
                  <a:pt x="969930" y="5598"/>
                </a:cubicBezTo>
                <a:cubicBezTo>
                  <a:pt x="996200" y="16394"/>
                  <a:pt x="1012753" y="41224"/>
                  <a:pt x="1012753" y="69653"/>
                </a:cubicBezTo>
                <a:lnTo>
                  <a:pt x="1013113" y="132268"/>
                </a:lnTo>
                <a:lnTo>
                  <a:pt x="1075368" y="132268"/>
                </a:lnTo>
                <a:cubicBezTo>
                  <a:pt x="1104157" y="132268"/>
                  <a:pt x="1128627" y="148821"/>
                  <a:pt x="1139783" y="175450"/>
                </a:cubicBezTo>
                <a:cubicBezTo>
                  <a:pt x="1150578" y="201720"/>
                  <a:pt x="1144821" y="230868"/>
                  <a:pt x="1124669" y="251380"/>
                </a:cubicBezTo>
                <a:lnTo>
                  <a:pt x="975328" y="400720"/>
                </a:lnTo>
                <a:cubicBezTo>
                  <a:pt x="971370" y="405039"/>
                  <a:pt x="965612" y="407198"/>
                  <a:pt x="959854" y="407198"/>
                </a:cubicBezTo>
                <a:lnTo>
                  <a:pt x="769490" y="407198"/>
                </a:lnTo>
                <a:lnTo>
                  <a:pt x="745380" y="431308"/>
                </a:lnTo>
                <a:cubicBezTo>
                  <a:pt x="789282" y="481688"/>
                  <a:pt x="814832" y="544303"/>
                  <a:pt x="819870" y="610516"/>
                </a:cubicBezTo>
                <a:lnTo>
                  <a:pt x="845780" y="610516"/>
                </a:lnTo>
                <a:cubicBezTo>
                  <a:pt x="858375" y="610516"/>
                  <a:pt x="868451" y="620593"/>
                  <a:pt x="868451" y="633188"/>
                </a:cubicBezTo>
                <a:cubicBezTo>
                  <a:pt x="868451" y="645423"/>
                  <a:pt x="858375" y="655499"/>
                  <a:pt x="845780" y="655499"/>
                </a:cubicBezTo>
                <a:lnTo>
                  <a:pt x="819870" y="655499"/>
                </a:lnTo>
                <a:cubicBezTo>
                  <a:pt x="814472" y="729629"/>
                  <a:pt x="783165" y="798362"/>
                  <a:pt x="730266" y="851261"/>
                </a:cubicBezTo>
                <a:cubicBezTo>
                  <a:pt x="677367" y="904519"/>
                  <a:pt x="608275" y="935827"/>
                  <a:pt x="534144" y="941225"/>
                </a:cubicBezTo>
                <a:lnTo>
                  <a:pt x="534144" y="967134"/>
                </a:lnTo>
                <a:cubicBezTo>
                  <a:pt x="534144" y="979369"/>
                  <a:pt x="524068" y="989445"/>
                  <a:pt x="511833" y="989445"/>
                </a:cubicBezTo>
                <a:cubicBezTo>
                  <a:pt x="499598" y="989445"/>
                  <a:pt x="489882" y="979369"/>
                  <a:pt x="489882" y="967134"/>
                </a:cubicBezTo>
                <a:lnTo>
                  <a:pt x="489882" y="941225"/>
                </a:lnTo>
                <a:cubicBezTo>
                  <a:pt x="416111" y="935827"/>
                  <a:pt x="347018" y="904519"/>
                  <a:pt x="293760" y="851261"/>
                </a:cubicBezTo>
                <a:cubicBezTo>
                  <a:pt x="240501" y="797642"/>
                  <a:pt x="209913" y="727830"/>
                  <a:pt x="204515" y="655499"/>
                </a:cubicBezTo>
                <a:lnTo>
                  <a:pt x="178246" y="655499"/>
                </a:lnTo>
                <a:cubicBezTo>
                  <a:pt x="166011" y="655499"/>
                  <a:pt x="155575" y="645423"/>
                  <a:pt x="155575" y="633188"/>
                </a:cubicBezTo>
                <a:cubicBezTo>
                  <a:pt x="155575" y="620593"/>
                  <a:pt x="166011" y="610516"/>
                  <a:pt x="178246" y="610516"/>
                </a:cubicBezTo>
                <a:lnTo>
                  <a:pt x="204515" y="610516"/>
                </a:lnTo>
                <a:cubicBezTo>
                  <a:pt x="207034" y="573451"/>
                  <a:pt x="216750" y="536026"/>
                  <a:pt x="233304" y="500760"/>
                </a:cubicBezTo>
                <a:cubicBezTo>
                  <a:pt x="238702" y="489605"/>
                  <a:pt x="252016" y="484927"/>
                  <a:pt x="263172" y="489965"/>
                </a:cubicBezTo>
                <a:cubicBezTo>
                  <a:pt x="274327" y="495362"/>
                  <a:pt x="279006" y="508677"/>
                  <a:pt x="273608" y="519833"/>
                </a:cubicBezTo>
                <a:cubicBezTo>
                  <a:pt x="259933" y="548981"/>
                  <a:pt x="252016" y="579569"/>
                  <a:pt x="249137" y="610516"/>
                </a:cubicBezTo>
                <a:lnTo>
                  <a:pt x="269289" y="610516"/>
                </a:lnTo>
                <a:cubicBezTo>
                  <a:pt x="281525" y="610516"/>
                  <a:pt x="291601" y="620593"/>
                  <a:pt x="291601" y="633188"/>
                </a:cubicBezTo>
                <a:cubicBezTo>
                  <a:pt x="291601" y="645423"/>
                  <a:pt x="281525" y="655499"/>
                  <a:pt x="269289" y="655499"/>
                </a:cubicBezTo>
                <a:lnTo>
                  <a:pt x="249497" y="655499"/>
                </a:lnTo>
                <a:cubicBezTo>
                  <a:pt x="254535" y="716315"/>
                  <a:pt x="280805" y="774611"/>
                  <a:pt x="325787" y="819593"/>
                </a:cubicBezTo>
                <a:cubicBezTo>
                  <a:pt x="371489" y="865655"/>
                  <a:pt x="429785" y="890845"/>
                  <a:pt x="489882" y="895883"/>
                </a:cubicBezTo>
                <a:lnTo>
                  <a:pt x="489882" y="876091"/>
                </a:lnTo>
                <a:cubicBezTo>
                  <a:pt x="489882" y="863856"/>
                  <a:pt x="499598" y="853780"/>
                  <a:pt x="511833" y="853780"/>
                </a:cubicBezTo>
                <a:cubicBezTo>
                  <a:pt x="524068" y="853780"/>
                  <a:pt x="534144" y="863856"/>
                  <a:pt x="534144" y="876091"/>
                </a:cubicBezTo>
                <a:lnTo>
                  <a:pt x="534144" y="895883"/>
                </a:lnTo>
                <a:cubicBezTo>
                  <a:pt x="594240" y="890845"/>
                  <a:pt x="652897" y="865655"/>
                  <a:pt x="698599" y="819593"/>
                </a:cubicBezTo>
                <a:cubicBezTo>
                  <a:pt x="744300" y="773892"/>
                  <a:pt x="769850" y="715235"/>
                  <a:pt x="774888" y="655499"/>
                </a:cubicBezTo>
                <a:lnTo>
                  <a:pt x="755096" y="655499"/>
                </a:lnTo>
                <a:cubicBezTo>
                  <a:pt x="742861" y="655499"/>
                  <a:pt x="732785" y="645423"/>
                  <a:pt x="732785" y="633188"/>
                </a:cubicBezTo>
                <a:cubicBezTo>
                  <a:pt x="732785" y="620593"/>
                  <a:pt x="742861" y="610516"/>
                  <a:pt x="755096" y="610516"/>
                </a:cubicBezTo>
                <a:lnTo>
                  <a:pt x="774888" y="610516"/>
                </a:lnTo>
                <a:cubicBezTo>
                  <a:pt x="770210" y="557618"/>
                  <a:pt x="750058" y="505798"/>
                  <a:pt x="713713" y="462975"/>
                </a:cubicBezTo>
                <a:lnTo>
                  <a:pt x="650018" y="526670"/>
                </a:lnTo>
                <a:cubicBezTo>
                  <a:pt x="672689" y="556178"/>
                  <a:pt x="686364" y="593243"/>
                  <a:pt x="686364" y="633188"/>
                </a:cubicBezTo>
                <a:cubicBezTo>
                  <a:pt x="686364" y="729269"/>
                  <a:pt x="608275" y="807358"/>
                  <a:pt x="511833" y="807358"/>
                </a:cubicBezTo>
                <a:cubicBezTo>
                  <a:pt x="416111" y="807358"/>
                  <a:pt x="337662" y="729269"/>
                  <a:pt x="337662" y="633188"/>
                </a:cubicBezTo>
                <a:cubicBezTo>
                  <a:pt x="337662" y="537106"/>
                  <a:pt x="416111" y="458657"/>
                  <a:pt x="511833" y="458657"/>
                </a:cubicBezTo>
                <a:cubicBezTo>
                  <a:pt x="552137" y="458657"/>
                  <a:pt x="588842" y="472332"/>
                  <a:pt x="618351" y="495003"/>
                </a:cubicBezTo>
                <a:lnTo>
                  <a:pt x="682045" y="431308"/>
                </a:lnTo>
                <a:cubicBezTo>
                  <a:pt x="639582" y="395322"/>
                  <a:pt x="587763" y="374451"/>
                  <a:pt x="534144" y="370133"/>
                </a:cubicBezTo>
                <a:lnTo>
                  <a:pt x="534144" y="389925"/>
                </a:lnTo>
                <a:cubicBezTo>
                  <a:pt x="534144" y="402160"/>
                  <a:pt x="524068" y="412236"/>
                  <a:pt x="511833" y="412236"/>
                </a:cubicBezTo>
                <a:cubicBezTo>
                  <a:pt x="499598" y="412236"/>
                  <a:pt x="489882" y="402160"/>
                  <a:pt x="489882" y="389925"/>
                </a:cubicBezTo>
                <a:lnTo>
                  <a:pt x="489882" y="370133"/>
                </a:lnTo>
                <a:cubicBezTo>
                  <a:pt x="457854" y="372652"/>
                  <a:pt x="425467" y="381288"/>
                  <a:pt x="395239" y="396042"/>
                </a:cubicBezTo>
                <a:cubicBezTo>
                  <a:pt x="384443" y="401800"/>
                  <a:pt x="370769" y="397122"/>
                  <a:pt x="365371" y="385966"/>
                </a:cubicBezTo>
                <a:cubicBezTo>
                  <a:pt x="359973" y="375171"/>
                  <a:pt x="364651" y="361496"/>
                  <a:pt x="375447" y="356098"/>
                </a:cubicBezTo>
                <a:cubicBezTo>
                  <a:pt x="412152" y="338105"/>
                  <a:pt x="451017" y="328029"/>
                  <a:pt x="489882" y="325151"/>
                </a:cubicBezTo>
                <a:lnTo>
                  <a:pt x="489882" y="298881"/>
                </a:lnTo>
                <a:cubicBezTo>
                  <a:pt x="489882" y="286646"/>
                  <a:pt x="499598" y="276570"/>
                  <a:pt x="511833" y="276570"/>
                </a:cubicBezTo>
                <a:cubicBezTo>
                  <a:pt x="524068" y="276570"/>
                  <a:pt x="534144" y="286646"/>
                  <a:pt x="534144" y="298881"/>
                </a:cubicBezTo>
                <a:lnTo>
                  <a:pt x="534144" y="325151"/>
                </a:lnTo>
                <a:cubicBezTo>
                  <a:pt x="599278" y="329829"/>
                  <a:pt x="662613" y="355019"/>
                  <a:pt x="713713" y="399641"/>
                </a:cubicBezTo>
                <a:lnTo>
                  <a:pt x="738183" y="375530"/>
                </a:lnTo>
                <a:lnTo>
                  <a:pt x="738183" y="185526"/>
                </a:lnTo>
                <a:cubicBezTo>
                  <a:pt x="738183" y="179409"/>
                  <a:pt x="740342" y="173651"/>
                  <a:pt x="744660" y="169693"/>
                </a:cubicBezTo>
                <a:lnTo>
                  <a:pt x="894001" y="20712"/>
                </a:lnTo>
                <a:cubicBezTo>
                  <a:pt x="904257" y="10456"/>
                  <a:pt x="916582" y="3889"/>
                  <a:pt x="929672" y="128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4" name="Freeform 13">
            <a:extLst>
              <a:ext uri="{FF2B5EF4-FFF2-40B4-BE49-F238E27FC236}">
                <a16:creationId xmlns:a16="http://schemas.microsoft.com/office/drawing/2014/main" id="{FF8A48DE-64FD-C245-A288-54F59A3B1C7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709418" y="2080056"/>
            <a:ext cx="676302" cy="676302"/>
          </a:xfrm>
          <a:custGeom>
            <a:avLst/>
            <a:gdLst>
              <a:gd name="connsiteX0" fmla="*/ 67316 w 1145815"/>
              <a:gd name="connsiteY0" fmla="*/ 1020222 h 1145815"/>
              <a:gd name="connsiteX1" fmla="*/ 44997 w 1145815"/>
              <a:gd name="connsiteY1" fmla="*/ 1042893 h 1145815"/>
              <a:gd name="connsiteX2" fmla="*/ 44997 w 1145815"/>
              <a:gd name="connsiteY2" fmla="*/ 1100832 h 1145815"/>
              <a:gd name="connsiteX3" fmla="*/ 366819 w 1145815"/>
              <a:gd name="connsiteY3" fmla="*/ 1100832 h 1145815"/>
              <a:gd name="connsiteX4" fmla="*/ 366819 w 1145815"/>
              <a:gd name="connsiteY4" fmla="*/ 1042893 h 1145815"/>
              <a:gd name="connsiteX5" fmla="*/ 344860 w 1145815"/>
              <a:gd name="connsiteY5" fmla="*/ 1020222 h 1145815"/>
              <a:gd name="connsiteX6" fmla="*/ 434135 w 1145815"/>
              <a:gd name="connsiteY6" fmla="*/ 912982 h 1145815"/>
              <a:gd name="connsiteX7" fmla="*/ 411816 w 1145815"/>
              <a:gd name="connsiteY7" fmla="*/ 935293 h 1145815"/>
              <a:gd name="connsiteX8" fmla="*/ 411816 w 1145815"/>
              <a:gd name="connsiteY8" fmla="*/ 1100832 h 1145815"/>
              <a:gd name="connsiteX9" fmla="*/ 733998 w 1145815"/>
              <a:gd name="connsiteY9" fmla="*/ 1100832 h 1145815"/>
              <a:gd name="connsiteX10" fmla="*/ 733998 w 1145815"/>
              <a:gd name="connsiteY10" fmla="*/ 935293 h 1145815"/>
              <a:gd name="connsiteX11" fmla="*/ 711679 w 1145815"/>
              <a:gd name="connsiteY11" fmla="*/ 912982 h 1145815"/>
              <a:gd name="connsiteX12" fmla="*/ 801314 w 1145815"/>
              <a:gd name="connsiteY12" fmla="*/ 841368 h 1145815"/>
              <a:gd name="connsiteX13" fmla="*/ 778996 w 1145815"/>
              <a:gd name="connsiteY13" fmla="*/ 863680 h 1145815"/>
              <a:gd name="connsiteX14" fmla="*/ 778996 w 1145815"/>
              <a:gd name="connsiteY14" fmla="*/ 1100832 h 1145815"/>
              <a:gd name="connsiteX15" fmla="*/ 1101178 w 1145815"/>
              <a:gd name="connsiteY15" fmla="*/ 1100832 h 1145815"/>
              <a:gd name="connsiteX16" fmla="*/ 1101178 w 1145815"/>
              <a:gd name="connsiteY16" fmla="*/ 863680 h 1145815"/>
              <a:gd name="connsiteX17" fmla="*/ 1078859 w 1145815"/>
              <a:gd name="connsiteY17" fmla="*/ 841368 h 1145815"/>
              <a:gd name="connsiteX18" fmla="*/ 292894 w 1145815"/>
              <a:gd name="connsiteY18" fmla="*/ 747713 h 1145815"/>
              <a:gd name="connsiteX19" fmla="*/ 308971 w 1145815"/>
              <a:gd name="connsiteY19" fmla="*/ 754114 h 1145815"/>
              <a:gd name="connsiteX20" fmla="*/ 315547 w 1145815"/>
              <a:gd name="connsiteY20" fmla="*/ 769760 h 1145815"/>
              <a:gd name="connsiteX21" fmla="*/ 308971 w 1145815"/>
              <a:gd name="connsiteY21" fmla="*/ 785407 h 1145815"/>
              <a:gd name="connsiteX22" fmla="*/ 292894 w 1145815"/>
              <a:gd name="connsiteY22" fmla="*/ 791808 h 1145815"/>
              <a:gd name="connsiteX23" fmla="*/ 276817 w 1145815"/>
              <a:gd name="connsiteY23" fmla="*/ 785407 h 1145815"/>
              <a:gd name="connsiteX24" fmla="*/ 269875 w 1145815"/>
              <a:gd name="connsiteY24" fmla="*/ 769760 h 1145815"/>
              <a:gd name="connsiteX25" fmla="*/ 276817 w 1145815"/>
              <a:gd name="connsiteY25" fmla="*/ 754114 h 1145815"/>
              <a:gd name="connsiteX26" fmla="*/ 292894 w 1145815"/>
              <a:gd name="connsiteY26" fmla="*/ 747713 h 1145815"/>
              <a:gd name="connsiteX27" fmla="*/ 895172 w 1145815"/>
              <a:gd name="connsiteY27" fmla="*/ 704850 h 1145815"/>
              <a:gd name="connsiteX28" fmla="*/ 910819 w 1145815"/>
              <a:gd name="connsiteY28" fmla="*/ 711251 h 1145815"/>
              <a:gd name="connsiteX29" fmla="*/ 917220 w 1145815"/>
              <a:gd name="connsiteY29" fmla="*/ 726897 h 1145815"/>
              <a:gd name="connsiteX30" fmla="*/ 910819 w 1145815"/>
              <a:gd name="connsiteY30" fmla="*/ 742544 h 1145815"/>
              <a:gd name="connsiteX31" fmla="*/ 895172 w 1145815"/>
              <a:gd name="connsiteY31" fmla="*/ 748945 h 1145815"/>
              <a:gd name="connsiteX32" fmla="*/ 879526 w 1145815"/>
              <a:gd name="connsiteY32" fmla="*/ 742544 h 1145815"/>
              <a:gd name="connsiteX33" fmla="*/ 873125 w 1145815"/>
              <a:gd name="connsiteY33" fmla="*/ 726897 h 1145815"/>
              <a:gd name="connsiteX34" fmla="*/ 879526 w 1145815"/>
              <a:gd name="connsiteY34" fmla="*/ 711251 h 1145815"/>
              <a:gd name="connsiteX35" fmla="*/ 895172 w 1145815"/>
              <a:gd name="connsiteY35" fmla="*/ 704850 h 1145815"/>
              <a:gd name="connsiteX36" fmla="*/ 411816 w 1145815"/>
              <a:gd name="connsiteY36" fmla="*/ 671151 h 1145815"/>
              <a:gd name="connsiteX37" fmla="*/ 411816 w 1145815"/>
              <a:gd name="connsiteY37" fmla="*/ 871957 h 1145815"/>
              <a:gd name="connsiteX38" fmla="*/ 434135 w 1145815"/>
              <a:gd name="connsiteY38" fmla="*/ 867998 h 1145815"/>
              <a:gd name="connsiteX39" fmla="*/ 467973 w 1145815"/>
              <a:gd name="connsiteY39" fmla="*/ 867998 h 1145815"/>
              <a:gd name="connsiteX40" fmla="*/ 467973 w 1145815"/>
              <a:gd name="connsiteY40" fmla="*/ 671151 h 1145815"/>
              <a:gd name="connsiteX41" fmla="*/ 326861 w 1145815"/>
              <a:gd name="connsiteY41" fmla="*/ 228515 h 1145815"/>
              <a:gd name="connsiteX42" fmla="*/ 223907 w 1145815"/>
              <a:gd name="connsiteY42" fmla="*/ 331437 h 1145815"/>
              <a:gd name="connsiteX43" fmla="*/ 223907 w 1145815"/>
              <a:gd name="connsiteY43" fmla="*/ 447314 h 1145815"/>
              <a:gd name="connsiteX44" fmla="*/ 268545 w 1145815"/>
              <a:gd name="connsiteY44" fmla="*/ 510651 h 1145815"/>
              <a:gd name="connsiteX45" fmla="*/ 268545 w 1145815"/>
              <a:gd name="connsiteY45" fmla="*/ 354109 h 1145815"/>
              <a:gd name="connsiteX46" fmla="*/ 291223 w 1145815"/>
              <a:gd name="connsiteY46" fmla="*/ 331797 h 1145815"/>
              <a:gd name="connsiteX47" fmla="*/ 313542 w 1145815"/>
              <a:gd name="connsiteY47" fmla="*/ 354109 h 1145815"/>
              <a:gd name="connsiteX48" fmla="*/ 313542 w 1145815"/>
              <a:gd name="connsiteY48" fmla="*/ 509931 h 1145815"/>
              <a:gd name="connsiteX49" fmla="*/ 428015 w 1145815"/>
              <a:gd name="connsiteY49" fmla="*/ 509931 h 1145815"/>
              <a:gd name="connsiteX50" fmla="*/ 428015 w 1145815"/>
              <a:gd name="connsiteY50" fmla="*/ 354109 h 1145815"/>
              <a:gd name="connsiteX51" fmla="*/ 450334 w 1145815"/>
              <a:gd name="connsiteY51" fmla="*/ 331797 h 1145815"/>
              <a:gd name="connsiteX52" fmla="*/ 472653 w 1145815"/>
              <a:gd name="connsiteY52" fmla="*/ 354109 h 1145815"/>
              <a:gd name="connsiteX53" fmla="*/ 472653 w 1145815"/>
              <a:gd name="connsiteY53" fmla="*/ 413487 h 1145815"/>
              <a:gd name="connsiteX54" fmla="*/ 503611 w 1145815"/>
              <a:gd name="connsiteY54" fmla="*/ 444435 h 1145815"/>
              <a:gd name="connsiteX55" fmla="*/ 619525 w 1145815"/>
              <a:gd name="connsiteY55" fmla="*/ 444435 h 1145815"/>
              <a:gd name="connsiteX56" fmla="*/ 641123 w 1145815"/>
              <a:gd name="connsiteY56" fmla="*/ 422843 h 1145815"/>
              <a:gd name="connsiteX57" fmla="*/ 619525 w 1145815"/>
              <a:gd name="connsiteY57" fmla="*/ 401251 h 1145815"/>
              <a:gd name="connsiteX58" fmla="*/ 539969 w 1145815"/>
              <a:gd name="connsiteY58" fmla="*/ 401251 h 1145815"/>
              <a:gd name="connsiteX59" fmla="*/ 517290 w 1145815"/>
              <a:gd name="connsiteY59" fmla="*/ 378939 h 1145815"/>
              <a:gd name="connsiteX60" fmla="*/ 517290 w 1145815"/>
              <a:gd name="connsiteY60" fmla="*/ 331437 h 1145815"/>
              <a:gd name="connsiteX61" fmla="*/ 414336 w 1145815"/>
              <a:gd name="connsiteY61" fmla="*/ 228515 h 1145815"/>
              <a:gd name="connsiteX62" fmla="*/ 372579 w 1145815"/>
              <a:gd name="connsiteY62" fmla="*/ 44623 h 1145815"/>
              <a:gd name="connsiteX63" fmla="*/ 313542 w 1145815"/>
              <a:gd name="connsiteY63" fmla="*/ 104001 h 1145815"/>
              <a:gd name="connsiteX64" fmla="*/ 313542 w 1145815"/>
              <a:gd name="connsiteY64" fmla="*/ 124514 h 1145815"/>
              <a:gd name="connsiteX65" fmla="*/ 372579 w 1145815"/>
              <a:gd name="connsiteY65" fmla="*/ 183892 h 1145815"/>
              <a:gd name="connsiteX66" fmla="*/ 431975 w 1145815"/>
              <a:gd name="connsiteY66" fmla="*/ 124514 h 1145815"/>
              <a:gd name="connsiteX67" fmla="*/ 431975 w 1145815"/>
              <a:gd name="connsiteY67" fmla="*/ 104001 h 1145815"/>
              <a:gd name="connsiteX68" fmla="*/ 372579 w 1145815"/>
              <a:gd name="connsiteY68" fmla="*/ 44623 h 1145815"/>
              <a:gd name="connsiteX69" fmla="*/ 372579 w 1145815"/>
              <a:gd name="connsiteY69" fmla="*/ 0 h 1145815"/>
              <a:gd name="connsiteX70" fmla="*/ 476973 w 1145815"/>
              <a:gd name="connsiteY70" fmla="*/ 104001 h 1145815"/>
              <a:gd name="connsiteX71" fmla="*/ 476973 w 1145815"/>
              <a:gd name="connsiteY71" fmla="*/ 124514 h 1145815"/>
              <a:gd name="connsiteX72" fmla="*/ 453934 w 1145815"/>
              <a:gd name="connsiteY72" fmla="*/ 189290 h 1145815"/>
              <a:gd name="connsiteX73" fmla="*/ 562288 w 1145815"/>
              <a:gd name="connsiteY73" fmla="*/ 331437 h 1145815"/>
              <a:gd name="connsiteX74" fmla="*/ 562288 w 1145815"/>
              <a:gd name="connsiteY74" fmla="*/ 356628 h 1145815"/>
              <a:gd name="connsiteX75" fmla="*/ 619525 w 1145815"/>
              <a:gd name="connsiteY75" fmla="*/ 356628 h 1145815"/>
              <a:gd name="connsiteX76" fmla="*/ 686121 w 1145815"/>
              <a:gd name="connsiteY76" fmla="*/ 422843 h 1145815"/>
              <a:gd name="connsiteX77" fmla="*/ 619525 w 1145815"/>
              <a:gd name="connsiteY77" fmla="*/ 489059 h 1145815"/>
              <a:gd name="connsiteX78" fmla="*/ 503611 w 1145815"/>
              <a:gd name="connsiteY78" fmla="*/ 489059 h 1145815"/>
              <a:gd name="connsiteX79" fmla="*/ 472653 w 1145815"/>
              <a:gd name="connsiteY79" fmla="*/ 482581 h 1145815"/>
              <a:gd name="connsiteX80" fmla="*/ 472653 w 1145815"/>
              <a:gd name="connsiteY80" fmla="*/ 509931 h 1145815"/>
              <a:gd name="connsiteX81" fmla="*/ 499291 w 1145815"/>
              <a:gd name="connsiteY81" fmla="*/ 509931 h 1145815"/>
              <a:gd name="connsiteX82" fmla="*/ 611245 w 1145815"/>
              <a:gd name="connsiteY82" fmla="*/ 621849 h 1145815"/>
              <a:gd name="connsiteX83" fmla="*/ 611245 w 1145815"/>
              <a:gd name="connsiteY83" fmla="*/ 867998 h 1145815"/>
              <a:gd name="connsiteX84" fmla="*/ 711679 w 1145815"/>
              <a:gd name="connsiteY84" fmla="*/ 867998 h 1145815"/>
              <a:gd name="connsiteX85" fmla="*/ 733998 w 1145815"/>
              <a:gd name="connsiteY85" fmla="*/ 871957 h 1145815"/>
              <a:gd name="connsiteX86" fmla="*/ 733998 w 1145815"/>
              <a:gd name="connsiteY86" fmla="*/ 863680 h 1145815"/>
              <a:gd name="connsiteX87" fmla="*/ 801314 w 1145815"/>
              <a:gd name="connsiteY87" fmla="*/ 796385 h 1145815"/>
              <a:gd name="connsiteX88" fmla="*/ 962586 w 1145815"/>
              <a:gd name="connsiteY88" fmla="*/ 796385 h 1145815"/>
              <a:gd name="connsiteX89" fmla="*/ 962586 w 1145815"/>
              <a:gd name="connsiteY89" fmla="*/ 186051 h 1145815"/>
              <a:gd name="connsiteX90" fmla="*/ 975545 w 1145815"/>
              <a:gd name="connsiteY90" fmla="*/ 165898 h 1145815"/>
              <a:gd name="connsiteX91" fmla="*/ 939907 w 1145815"/>
              <a:gd name="connsiteY91" fmla="*/ 109399 h 1145815"/>
              <a:gd name="connsiteX92" fmla="*/ 904629 w 1145815"/>
              <a:gd name="connsiteY92" fmla="*/ 165898 h 1145815"/>
              <a:gd name="connsiteX93" fmla="*/ 917588 w 1145815"/>
              <a:gd name="connsiteY93" fmla="*/ 186051 h 1145815"/>
              <a:gd name="connsiteX94" fmla="*/ 917588 w 1145815"/>
              <a:gd name="connsiteY94" fmla="*/ 642362 h 1145815"/>
              <a:gd name="connsiteX95" fmla="*/ 895269 w 1145815"/>
              <a:gd name="connsiteY95" fmla="*/ 664673 h 1145815"/>
              <a:gd name="connsiteX96" fmla="*/ 872950 w 1145815"/>
              <a:gd name="connsiteY96" fmla="*/ 642362 h 1145815"/>
              <a:gd name="connsiteX97" fmla="*/ 872950 w 1145815"/>
              <a:gd name="connsiteY97" fmla="*/ 208363 h 1145815"/>
              <a:gd name="connsiteX98" fmla="*/ 865391 w 1145815"/>
              <a:gd name="connsiteY98" fmla="*/ 208363 h 1145815"/>
              <a:gd name="connsiteX99" fmla="*/ 845952 w 1145815"/>
              <a:gd name="connsiteY99" fmla="*/ 197207 h 1145815"/>
              <a:gd name="connsiteX100" fmla="*/ 846672 w 1145815"/>
              <a:gd name="connsiteY100" fmla="*/ 174175 h 1145815"/>
              <a:gd name="connsiteX101" fmla="*/ 921188 w 1145815"/>
              <a:gd name="connsiteY101" fmla="*/ 55419 h 1145815"/>
              <a:gd name="connsiteX102" fmla="*/ 939907 w 1145815"/>
              <a:gd name="connsiteY102" fmla="*/ 44983 h 1145815"/>
              <a:gd name="connsiteX103" fmla="*/ 958986 w 1145815"/>
              <a:gd name="connsiteY103" fmla="*/ 55419 h 1145815"/>
              <a:gd name="connsiteX104" fmla="*/ 1033502 w 1145815"/>
              <a:gd name="connsiteY104" fmla="*/ 174175 h 1145815"/>
              <a:gd name="connsiteX105" fmla="*/ 1033862 w 1145815"/>
              <a:gd name="connsiteY105" fmla="*/ 197207 h 1145815"/>
              <a:gd name="connsiteX106" fmla="*/ 1014423 w 1145815"/>
              <a:gd name="connsiteY106" fmla="*/ 208363 h 1145815"/>
              <a:gd name="connsiteX107" fmla="*/ 1007223 w 1145815"/>
              <a:gd name="connsiteY107" fmla="*/ 208363 h 1145815"/>
              <a:gd name="connsiteX108" fmla="*/ 1007223 w 1145815"/>
              <a:gd name="connsiteY108" fmla="*/ 796385 h 1145815"/>
              <a:gd name="connsiteX109" fmla="*/ 1078859 w 1145815"/>
              <a:gd name="connsiteY109" fmla="*/ 796385 h 1145815"/>
              <a:gd name="connsiteX110" fmla="*/ 1145815 w 1145815"/>
              <a:gd name="connsiteY110" fmla="*/ 863680 h 1145815"/>
              <a:gd name="connsiteX111" fmla="*/ 1145815 w 1145815"/>
              <a:gd name="connsiteY111" fmla="*/ 1123144 h 1145815"/>
              <a:gd name="connsiteX112" fmla="*/ 1123496 w 1145815"/>
              <a:gd name="connsiteY112" fmla="*/ 1145815 h 1145815"/>
              <a:gd name="connsiteX113" fmla="*/ 22318 w 1145815"/>
              <a:gd name="connsiteY113" fmla="*/ 1145815 h 1145815"/>
              <a:gd name="connsiteX114" fmla="*/ 0 w 1145815"/>
              <a:gd name="connsiteY114" fmla="*/ 1123144 h 1145815"/>
              <a:gd name="connsiteX115" fmla="*/ 0 w 1145815"/>
              <a:gd name="connsiteY115" fmla="*/ 1042893 h 1145815"/>
              <a:gd name="connsiteX116" fmla="*/ 67316 w 1145815"/>
              <a:gd name="connsiteY116" fmla="*/ 975598 h 1145815"/>
              <a:gd name="connsiteX117" fmla="*/ 268545 w 1145815"/>
              <a:gd name="connsiteY117" fmla="*/ 975598 h 1145815"/>
              <a:gd name="connsiteX118" fmla="*/ 268545 w 1145815"/>
              <a:gd name="connsiteY118" fmla="*/ 865839 h 1145815"/>
              <a:gd name="connsiteX119" fmla="*/ 291223 w 1145815"/>
              <a:gd name="connsiteY119" fmla="*/ 843527 h 1145815"/>
              <a:gd name="connsiteX120" fmla="*/ 313542 w 1145815"/>
              <a:gd name="connsiteY120" fmla="*/ 865839 h 1145815"/>
              <a:gd name="connsiteX121" fmla="*/ 313542 w 1145815"/>
              <a:gd name="connsiteY121" fmla="*/ 975598 h 1145815"/>
              <a:gd name="connsiteX122" fmla="*/ 366819 w 1145815"/>
              <a:gd name="connsiteY122" fmla="*/ 975598 h 1145815"/>
              <a:gd name="connsiteX123" fmla="*/ 366819 w 1145815"/>
              <a:gd name="connsiteY123" fmla="*/ 648839 h 1145815"/>
              <a:gd name="connsiteX124" fmla="*/ 389498 w 1145815"/>
              <a:gd name="connsiteY124" fmla="*/ 626168 h 1145815"/>
              <a:gd name="connsiteX125" fmla="*/ 490292 w 1145815"/>
              <a:gd name="connsiteY125" fmla="*/ 626168 h 1145815"/>
              <a:gd name="connsiteX126" fmla="*/ 512611 w 1145815"/>
              <a:gd name="connsiteY126" fmla="*/ 648839 h 1145815"/>
              <a:gd name="connsiteX127" fmla="*/ 512611 w 1145815"/>
              <a:gd name="connsiteY127" fmla="*/ 867998 h 1145815"/>
              <a:gd name="connsiteX128" fmla="*/ 566248 w 1145815"/>
              <a:gd name="connsiteY128" fmla="*/ 867998 h 1145815"/>
              <a:gd name="connsiteX129" fmla="*/ 566248 w 1145815"/>
              <a:gd name="connsiteY129" fmla="*/ 621849 h 1145815"/>
              <a:gd name="connsiteX130" fmla="*/ 499291 w 1145815"/>
              <a:gd name="connsiteY130" fmla="*/ 554554 h 1145815"/>
              <a:gd name="connsiteX131" fmla="*/ 313542 w 1145815"/>
              <a:gd name="connsiteY131" fmla="*/ 554554 h 1145815"/>
              <a:gd name="connsiteX132" fmla="*/ 313542 w 1145815"/>
              <a:gd name="connsiteY132" fmla="*/ 683746 h 1145815"/>
              <a:gd name="connsiteX133" fmla="*/ 291223 w 1145815"/>
              <a:gd name="connsiteY133" fmla="*/ 705698 h 1145815"/>
              <a:gd name="connsiteX134" fmla="*/ 268545 w 1145815"/>
              <a:gd name="connsiteY134" fmla="*/ 683746 h 1145815"/>
              <a:gd name="connsiteX135" fmla="*/ 268545 w 1145815"/>
              <a:gd name="connsiteY135" fmla="*/ 556713 h 1145815"/>
              <a:gd name="connsiteX136" fmla="*/ 179270 w 1145815"/>
              <a:gd name="connsiteY136" fmla="*/ 447314 h 1145815"/>
              <a:gd name="connsiteX137" fmla="*/ 179270 w 1145815"/>
              <a:gd name="connsiteY137" fmla="*/ 331437 h 1145815"/>
              <a:gd name="connsiteX138" fmla="*/ 290503 w 1145815"/>
              <a:gd name="connsiteY138" fmla="*/ 188210 h 1145815"/>
              <a:gd name="connsiteX139" fmla="*/ 268545 w 1145815"/>
              <a:gd name="connsiteY139" fmla="*/ 124514 h 1145815"/>
              <a:gd name="connsiteX140" fmla="*/ 268545 w 1145815"/>
              <a:gd name="connsiteY140" fmla="*/ 104001 h 1145815"/>
              <a:gd name="connsiteX141" fmla="*/ 372579 w 1145815"/>
              <a:gd name="connsiteY141" fmla="*/ 0 h 11458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</a:cxnLst>
            <a:rect l="l" t="t" r="r" b="b"/>
            <a:pathLst>
              <a:path w="1145815" h="1145815">
                <a:moveTo>
                  <a:pt x="67316" y="1020222"/>
                </a:moveTo>
                <a:cubicBezTo>
                  <a:pt x="55077" y="1020222"/>
                  <a:pt x="44997" y="1030298"/>
                  <a:pt x="44997" y="1042893"/>
                </a:cubicBezTo>
                <a:lnTo>
                  <a:pt x="44997" y="1100832"/>
                </a:lnTo>
                <a:lnTo>
                  <a:pt x="366819" y="1100832"/>
                </a:lnTo>
                <a:lnTo>
                  <a:pt x="366819" y="1042893"/>
                </a:lnTo>
                <a:cubicBezTo>
                  <a:pt x="366819" y="1030298"/>
                  <a:pt x="357100" y="1020222"/>
                  <a:pt x="344860" y="1020222"/>
                </a:cubicBezTo>
                <a:close/>
                <a:moveTo>
                  <a:pt x="434135" y="912982"/>
                </a:moveTo>
                <a:cubicBezTo>
                  <a:pt x="421896" y="912982"/>
                  <a:pt x="411816" y="923058"/>
                  <a:pt x="411816" y="935293"/>
                </a:cubicBezTo>
                <a:lnTo>
                  <a:pt x="411816" y="1100832"/>
                </a:lnTo>
                <a:lnTo>
                  <a:pt x="733998" y="1100832"/>
                </a:lnTo>
                <a:lnTo>
                  <a:pt x="733998" y="935293"/>
                </a:lnTo>
                <a:cubicBezTo>
                  <a:pt x="733998" y="923058"/>
                  <a:pt x="723919" y="912982"/>
                  <a:pt x="711679" y="912982"/>
                </a:cubicBezTo>
                <a:close/>
                <a:moveTo>
                  <a:pt x="801314" y="841368"/>
                </a:moveTo>
                <a:cubicBezTo>
                  <a:pt x="789075" y="841368"/>
                  <a:pt x="778996" y="851444"/>
                  <a:pt x="778996" y="863680"/>
                </a:cubicBezTo>
                <a:lnTo>
                  <a:pt x="778996" y="1100832"/>
                </a:lnTo>
                <a:lnTo>
                  <a:pt x="1101178" y="1100832"/>
                </a:lnTo>
                <a:lnTo>
                  <a:pt x="1101178" y="863680"/>
                </a:lnTo>
                <a:cubicBezTo>
                  <a:pt x="1101178" y="851444"/>
                  <a:pt x="1091098" y="841368"/>
                  <a:pt x="1078859" y="841368"/>
                </a:cubicBezTo>
                <a:close/>
                <a:moveTo>
                  <a:pt x="292894" y="747713"/>
                </a:moveTo>
                <a:cubicBezTo>
                  <a:pt x="298740" y="747713"/>
                  <a:pt x="304586" y="750202"/>
                  <a:pt x="308971" y="754114"/>
                </a:cubicBezTo>
                <a:cubicBezTo>
                  <a:pt x="313355" y="758381"/>
                  <a:pt x="315547" y="764071"/>
                  <a:pt x="315547" y="769760"/>
                </a:cubicBezTo>
                <a:cubicBezTo>
                  <a:pt x="315547" y="775450"/>
                  <a:pt x="313355" y="781140"/>
                  <a:pt x="308971" y="785407"/>
                </a:cubicBezTo>
                <a:cubicBezTo>
                  <a:pt x="304586" y="789674"/>
                  <a:pt x="298740" y="791808"/>
                  <a:pt x="292894" y="791808"/>
                </a:cubicBezTo>
                <a:cubicBezTo>
                  <a:pt x="286682" y="791808"/>
                  <a:pt x="280836" y="789674"/>
                  <a:pt x="276817" y="785407"/>
                </a:cubicBezTo>
                <a:cubicBezTo>
                  <a:pt x="272432" y="781140"/>
                  <a:pt x="269875" y="775450"/>
                  <a:pt x="269875" y="769760"/>
                </a:cubicBezTo>
                <a:cubicBezTo>
                  <a:pt x="269875" y="764071"/>
                  <a:pt x="272432" y="758381"/>
                  <a:pt x="276817" y="754114"/>
                </a:cubicBezTo>
                <a:cubicBezTo>
                  <a:pt x="280836" y="750202"/>
                  <a:pt x="286682" y="747713"/>
                  <a:pt x="292894" y="747713"/>
                </a:cubicBezTo>
                <a:close/>
                <a:moveTo>
                  <a:pt x="895172" y="704850"/>
                </a:moveTo>
                <a:cubicBezTo>
                  <a:pt x="901218" y="704850"/>
                  <a:pt x="906907" y="706984"/>
                  <a:pt x="910819" y="711251"/>
                </a:cubicBezTo>
                <a:cubicBezTo>
                  <a:pt x="915086" y="715163"/>
                  <a:pt x="917220" y="720852"/>
                  <a:pt x="917220" y="726897"/>
                </a:cubicBezTo>
                <a:cubicBezTo>
                  <a:pt x="917220" y="732587"/>
                  <a:pt x="915086" y="738277"/>
                  <a:pt x="910819" y="742544"/>
                </a:cubicBezTo>
                <a:cubicBezTo>
                  <a:pt x="906907" y="746455"/>
                  <a:pt x="901218" y="748945"/>
                  <a:pt x="895172" y="748945"/>
                </a:cubicBezTo>
                <a:cubicBezTo>
                  <a:pt x="889483" y="748945"/>
                  <a:pt x="883438" y="746455"/>
                  <a:pt x="879526" y="742544"/>
                </a:cubicBezTo>
                <a:cubicBezTo>
                  <a:pt x="875614" y="738277"/>
                  <a:pt x="873125" y="732587"/>
                  <a:pt x="873125" y="726897"/>
                </a:cubicBezTo>
                <a:cubicBezTo>
                  <a:pt x="873125" y="720852"/>
                  <a:pt x="875614" y="715163"/>
                  <a:pt x="879526" y="711251"/>
                </a:cubicBezTo>
                <a:cubicBezTo>
                  <a:pt x="883438" y="706984"/>
                  <a:pt x="889483" y="704850"/>
                  <a:pt x="895172" y="704850"/>
                </a:cubicBezTo>
                <a:close/>
                <a:moveTo>
                  <a:pt x="411816" y="671151"/>
                </a:moveTo>
                <a:lnTo>
                  <a:pt x="411816" y="871957"/>
                </a:lnTo>
                <a:cubicBezTo>
                  <a:pt x="418656" y="869438"/>
                  <a:pt x="426576" y="867998"/>
                  <a:pt x="434135" y="867998"/>
                </a:cubicBezTo>
                <a:lnTo>
                  <a:pt x="467973" y="867998"/>
                </a:lnTo>
                <a:lnTo>
                  <a:pt x="467973" y="671151"/>
                </a:lnTo>
                <a:close/>
                <a:moveTo>
                  <a:pt x="326861" y="228515"/>
                </a:moveTo>
                <a:cubicBezTo>
                  <a:pt x="270344" y="228515"/>
                  <a:pt x="223907" y="274578"/>
                  <a:pt x="223907" y="331437"/>
                </a:cubicBezTo>
                <a:lnTo>
                  <a:pt x="223907" y="447314"/>
                </a:lnTo>
                <a:cubicBezTo>
                  <a:pt x="223907" y="476463"/>
                  <a:pt x="242626" y="501294"/>
                  <a:pt x="268545" y="510651"/>
                </a:cubicBezTo>
                <a:lnTo>
                  <a:pt x="268545" y="354109"/>
                </a:lnTo>
                <a:cubicBezTo>
                  <a:pt x="268545" y="341873"/>
                  <a:pt x="278984" y="331797"/>
                  <a:pt x="291223" y="331797"/>
                </a:cubicBezTo>
                <a:cubicBezTo>
                  <a:pt x="303463" y="331797"/>
                  <a:pt x="313542" y="341873"/>
                  <a:pt x="313542" y="354109"/>
                </a:cubicBezTo>
                <a:lnTo>
                  <a:pt x="313542" y="509931"/>
                </a:lnTo>
                <a:lnTo>
                  <a:pt x="428015" y="509931"/>
                </a:lnTo>
                <a:lnTo>
                  <a:pt x="428015" y="354109"/>
                </a:lnTo>
                <a:cubicBezTo>
                  <a:pt x="428015" y="341873"/>
                  <a:pt x="438095" y="331797"/>
                  <a:pt x="450334" y="331797"/>
                </a:cubicBezTo>
                <a:cubicBezTo>
                  <a:pt x="462934" y="331797"/>
                  <a:pt x="472653" y="341873"/>
                  <a:pt x="472653" y="354109"/>
                </a:cubicBezTo>
                <a:lnTo>
                  <a:pt x="472653" y="413487"/>
                </a:lnTo>
                <a:cubicBezTo>
                  <a:pt x="472653" y="430760"/>
                  <a:pt x="486692" y="444435"/>
                  <a:pt x="503611" y="444435"/>
                </a:cubicBezTo>
                <a:lnTo>
                  <a:pt x="619525" y="444435"/>
                </a:lnTo>
                <a:cubicBezTo>
                  <a:pt x="631404" y="444435"/>
                  <a:pt x="641123" y="434719"/>
                  <a:pt x="641123" y="422843"/>
                </a:cubicBezTo>
                <a:cubicBezTo>
                  <a:pt x="641123" y="410967"/>
                  <a:pt x="631404" y="401251"/>
                  <a:pt x="619525" y="401251"/>
                </a:cubicBezTo>
                <a:lnTo>
                  <a:pt x="539969" y="401251"/>
                </a:lnTo>
                <a:cubicBezTo>
                  <a:pt x="527370" y="401251"/>
                  <a:pt x="517290" y="391535"/>
                  <a:pt x="517290" y="378939"/>
                </a:cubicBezTo>
                <a:lnTo>
                  <a:pt x="517290" y="331437"/>
                </a:lnTo>
                <a:cubicBezTo>
                  <a:pt x="517290" y="274578"/>
                  <a:pt x="471213" y="228515"/>
                  <a:pt x="414336" y="228515"/>
                </a:cubicBezTo>
                <a:close/>
                <a:moveTo>
                  <a:pt x="372579" y="44623"/>
                </a:moveTo>
                <a:cubicBezTo>
                  <a:pt x="340180" y="44623"/>
                  <a:pt x="313542" y="71254"/>
                  <a:pt x="313542" y="104001"/>
                </a:cubicBezTo>
                <a:lnTo>
                  <a:pt x="313542" y="124514"/>
                </a:lnTo>
                <a:cubicBezTo>
                  <a:pt x="313542" y="157262"/>
                  <a:pt x="340180" y="183892"/>
                  <a:pt x="372579" y="183892"/>
                </a:cubicBezTo>
                <a:cubicBezTo>
                  <a:pt x="405697" y="183892"/>
                  <a:pt x="431975" y="157262"/>
                  <a:pt x="431975" y="124514"/>
                </a:cubicBezTo>
                <a:lnTo>
                  <a:pt x="431975" y="104001"/>
                </a:lnTo>
                <a:cubicBezTo>
                  <a:pt x="431975" y="71254"/>
                  <a:pt x="405697" y="44623"/>
                  <a:pt x="372579" y="44623"/>
                </a:cubicBezTo>
                <a:close/>
                <a:moveTo>
                  <a:pt x="372579" y="0"/>
                </a:moveTo>
                <a:cubicBezTo>
                  <a:pt x="430175" y="0"/>
                  <a:pt x="476973" y="46423"/>
                  <a:pt x="476973" y="104001"/>
                </a:cubicBezTo>
                <a:lnTo>
                  <a:pt x="476973" y="124514"/>
                </a:lnTo>
                <a:cubicBezTo>
                  <a:pt x="476973" y="148985"/>
                  <a:pt x="468333" y="171656"/>
                  <a:pt x="453934" y="189290"/>
                </a:cubicBezTo>
                <a:cubicBezTo>
                  <a:pt x="516570" y="206563"/>
                  <a:pt x="562288" y="263782"/>
                  <a:pt x="562288" y="331437"/>
                </a:cubicBezTo>
                <a:lnTo>
                  <a:pt x="562288" y="356628"/>
                </a:lnTo>
                <a:lnTo>
                  <a:pt x="619525" y="356628"/>
                </a:lnTo>
                <a:cubicBezTo>
                  <a:pt x="656243" y="356628"/>
                  <a:pt x="686121" y="386137"/>
                  <a:pt x="686121" y="422843"/>
                </a:cubicBezTo>
                <a:cubicBezTo>
                  <a:pt x="686121" y="459190"/>
                  <a:pt x="656243" y="489059"/>
                  <a:pt x="619525" y="489059"/>
                </a:cubicBezTo>
                <a:lnTo>
                  <a:pt x="503611" y="489059"/>
                </a:lnTo>
                <a:cubicBezTo>
                  <a:pt x="492812" y="489059"/>
                  <a:pt x="482372" y="486899"/>
                  <a:pt x="472653" y="482581"/>
                </a:cubicBezTo>
                <a:lnTo>
                  <a:pt x="472653" y="509931"/>
                </a:lnTo>
                <a:lnTo>
                  <a:pt x="499291" y="509931"/>
                </a:lnTo>
                <a:cubicBezTo>
                  <a:pt x="561208" y="509931"/>
                  <a:pt x="611245" y="559952"/>
                  <a:pt x="611245" y="621849"/>
                </a:cubicBezTo>
                <a:lnTo>
                  <a:pt x="611245" y="867998"/>
                </a:lnTo>
                <a:lnTo>
                  <a:pt x="711679" y="867998"/>
                </a:lnTo>
                <a:cubicBezTo>
                  <a:pt x="719599" y="867998"/>
                  <a:pt x="727159" y="869438"/>
                  <a:pt x="733998" y="871957"/>
                </a:cubicBezTo>
                <a:lnTo>
                  <a:pt x="733998" y="863680"/>
                </a:lnTo>
                <a:cubicBezTo>
                  <a:pt x="733998" y="826614"/>
                  <a:pt x="764236" y="796385"/>
                  <a:pt x="801314" y="796385"/>
                </a:cubicBezTo>
                <a:lnTo>
                  <a:pt x="962586" y="796385"/>
                </a:lnTo>
                <a:lnTo>
                  <a:pt x="962586" y="186051"/>
                </a:lnTo>
                <a:cubicBezTo>
                  <a:pt x="962586" y="177054"/>
                  <a:pt x="967625" y="169497"/>
                  <a:pt x="975545" y="165898"/>
                </a:cubicBezTo>
                <a:lnTo>
                  <a:pt x="939907" y="109399"/>
                </a:lnTo>
                <a:lnTo>
                  <a:pt x="904629" y="165898"/>
                </a:lnTo>
                <a:cubicBezTo>
                  <a:pt x="912188" y="169497"/>
                  <a:pt x="917588" y="177054"/>
                  <a:pt x="917588" y="186051"/>
                </a:cubicBezTo>
                <a:lnTo>
                  <a:pt x="917588" y="642362"/>
                </a:lnTo>
                <a:cubicBezTo>
                  <a:pt x="917588" y="654597"/>
                  <a:pt x="907509" y="664673"/>
                  <a:pt x="895269" y="664673"/>
                </a:cubicBezTo>
                <a:cubicBezTo>
                  <a:pt x="883030" y="664673"/>
                  <a:pt x="872950" y="654597"/>
                  <a:pt x="872950" y="642362"/>
                </a:cubicBezTo>
                <a:lnTo>
                  <a:pt x="872950" y="208363"/>
                </a:lnTo>
                <a:lnTo>
                  <a:pt x="865391" y="208363"/>
                </a:lnTo>
                <a:cubicBezTo>
                  <a:pt x="857471" y="208363"/>
                  <a:pt x="849912" y="204044"/>
                  <a:pt x="845952" y="197207"/>
                </a:cubicBezTo>
                <a:cubicBezTo>
                  <a:pt x="841992" y="190009"/>
                  <a:pt x="842352" y="181373"/>
                  <a:pt x="846672" y="174175"/>
                </a:cubicBezTo>
                <a:lnTo>
                  <a:pt x="921188" y="55419"/>
                </a:lnTo>
                <a:cubicBezTo>
                  <a:pt x="925148" y="48942"/>
                  <a:pt x="932347" y="44983"/>
                  <a:pt x="939907" y="44983"/>
                </a:cubicBezTo>
                <a:cubicBezTo>
                  <a:pt x="947826" y="44983"/>
                  <a:pt x="955026" y="48942"/>
                  <a:pt x="958986" y="55419"/>
                </a:cubicBezTo>
                <a:lnTo>
                  <a:pt x="1033502" y="174175"/>
                </a:lnTo>
                <a:cubicBezTo>
                  <a:pt x="1037821" y="181373"/>
                  <a:pt x="1038181" y="190009"/>
                  <a:pt x="1033862" y="197207"/>
                </a:cubicBezTo>
                <a:cubicBezTo>
                  <a:pt x="1030262" y="204044"/>
                  <a:pt x="1022702" y="208363"/>
                  <a:pt x="1014423" y="208363"/>
                </a:cubicBezTo>
                <a:lnTo>
                  <a:pt x="1007223" y="208363"/>
                </a:lnTo>
                <a:lnTo>
                  <a:pt x="1007223" y="796385"/>
                </a:lnTo>
                <a:lnTo>
                  <a:pt x="1078859" y="796385"/>
                </a:lnTo>
                <a:cubicBezTo>
                  <a:pt x="1115937" y="796385"/>
                  <a:pt x="1145815" y="826614"/>
                  <a:pt x="1145815" y="863680"/>
                </a:cubicBezTo>
                <a:lnTo>
                  <a:pt x="1145815" y="1123144"/>
                </a:lnTo>
                <a:cubicBezTo>
                  <a:pt x="1145815" y="1135739"/>
                  <a:pt x="1136096" y="1145815"/>
                  <a:pt x="1123496" y="1145815"/>
                </a:cubicBezTo>
                <a:lnTo>
                  <a:pt x="22318" y="1145815"/>
                </a:lnTo>
                <a:cubicBezTo>
                  <a:pt x="10079" y="1145815"/>
                  <a:pt x="0" y="1135739"/>
                  <a:pt x="0" y="1123144"/>
                </a:cubicBezTo>
                <a:lnTo>
                  <a:pt x="0" y="1042893"/>
                </a:lnTo>
                <a:cubicBezTo>
                  <a:pt x="0" y="1005827"/>
                  <a:pt x="30238" y="975598"/>
                  <a:pt x="67316" y="975598"/>
                </a:cubicBezTo>
                <a:lnTo>
                  <a:pt x="268545" y="975598"/>
                </a:lnTo>
                <a:lnTo>
                  <a:pt x="268545" y="865839"/>
                </a:lnTo>
                <a:cubicBezTo>
                  <a:pt x="268545" y="853604"/>
                  <a:pt x="278984" y="843527"/>
                  <a:pt x="291223" y="843527"/>
                </a:cubicBezTo>
                <a:cubicBezTo>
                  <a:pt x="303463" y="843527"/>
                  <a:pt x="313542" y="853604"/>
                  <a:pt x="313542" y="865839"/>
                </a:cubicBezTo>
                <a:lnTo>
                  <a:pt x="313542" y="975598"/>
                </a:lnTo>
                <a:lnTo>
                  <a:pt x="366819" y="975598"/>
                </a:lnTo>
                <a:lnTo>
                  <a:pt x="366819" y="648839"/>
                </a:lnTo>
                <a:cubicBezTo>
                  <a:pt x="366819" y="636244"/>
                  <a:pt x="377258" y="626168"/>
                  <a:pt x="389498" y="626168"/>
                </a:cubicBezTo>
                <a:lnTo>
                  <a:pt x="490292" y="626168"/>
                </a:lnTo>
                <a:cubicBezTo>
                  <a:pt x="502891" y="626168"/>
                  <a:pt x="512611" y="636244"/>
                  <a:pt x="512611" y="648839"/>
                </a:cubicBezTo>
                <a:lnTo>
                  <a:pt x="512611" y="867998"/>
                </a:lnTo>
                <a:lnTo>
                  <a:pt x="566248" y="867998"/>
                </a:lnTo>
                <a:lnTo>
                  <a:pt x="566248" y="621849"/>
                </a:lnTo>
                <a:cubicBezTo>
                  <a:pt x="566248" y="584783"/>
                  <a:pt x="536369" y="554554"/>
                  <a:pt x="499291" y="554554"/>
                </a:cubicBezTo>
                <a:lnTo>
                  <a:pt x="313542" y="554554"/>
                </a:lnTo>
                <a:lnTo>
                  <a:pt x="313542" y="683746"/>
                </a:lnTo>
                <a:cubicBezTo>
                  <a:pt x="313542" y="695982"/>
                  <a:pt x="303463" y="705698"/>
                  <a:pt x="291223" y="705698"/>
                </a:cubicBezTo>
                <a:cubicBezTo>
                  <a:pt x="278984" y="705698"/>
                  <a:pt x="268545" y="695982"/>
                  <a:pt x="268545" y="683746"/>
                </a:cubicBezTo>
                <a:lnTo>
                  <a:pt x="268545" y="556713"/>
                </a:lnTo>
                <a:cubicBezTo>
                  <a:pt x="217787" y="546277"/>
                  <a:pt x="179270" y="501294"/>
                  <a:pt x="179270" y="447314"/>
                </a:cubicBezTo>
                <a:lnTo>
                  <a:pt x="179270" y="331437"/>
                </a:lnTo>
                <a:cubicBezTo>
                  <a:pt x="179270" y="262343"/>
                  <a:pt x="226787" y="204404"/>
                  <a:pt x="290503" y="188210"/>
                </a:cubicBezTo>
                <a:cubicBezTo>
                  <a:pt x="276824" y="170577"/>
                  <a:pt x="268545" y="148625"/>
                  <a:pt x="268545" y="124514"/>
                </a:cubicBezTo>
                <a:lnTo>
                  <a:pt x="268545" y="104001"/>
                </a:lnTo>
                <a:cubicBezTo>
                  <a:pt x="268545" y="46423"/>
                  <a:pt x="315342" y="0"/>
                  <a:pt x="372579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wrap="square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Lato Light" panose="020F0502020204030203" pitchFamily="34" charset="0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 rot="10800000" flipV="1">
            <a:off x="4667392" y="4084320"/>
            <a:ext cx="3078225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800" b="0" i="0" u="none" strike="noStrike" kern="1200" cap="none" spc="0" normalizeH="0" baseline="0" noProof="0" dirty="0">
                <a:ln>
                  <a:noFill/>
                </a:ln>
                <a:solidFill>
                  <a:srgbClr val="99999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rture tech start-ups to develop &amp; commercialise solutions for market succes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999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/>
          <p:cNvSpPr txBox="1"/>
          <p:nvPr/>
        </p:nvSpPr>
        <p:spPr>
          <a:xfrm rot="10800000" flipV="1">
            <a:off x="8553576" y="4018296"/>
            <a:ext cx="30692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800" b="0" i="0" u="none" strike="noStrike" kern="1200" cap="none" spc="0" normalizeH="0" baseline="0" noProof="0" dirty="0">
                <a:ln>
                  <a:noFill/>
                </a:ln>
                <a:solidFill>
                  <a:srgbClr val="999999">
                    <a:lumMod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 business focused accelerator for growth stage tech ventures to expand onto the world stage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999999">
                  <a:lumMod val="75000"/>
                </a:srgb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Titel 3">
            <a:extLst>
              <a:ext uri="{FF2B5EF4-FFF2-40B4-BE49-F238E27FC236}">
                <a16:creationId xmlns:a16="http://schemas.microsoft.com/office/drawing/2014/main" id="{0966169D-829A-48C5-AC3A-EB11246C5F0C}"/>
              </a:ext>
            </a:extLst>
          </p:cNvPr>
          <p:cNvSpPr txBox="1">
            <a:spLocks/>
          </p:cNvSpPr>
          <p:nvPr/>
        </p:nvSpPr>
        <p:spPr>
          <a:xfrm>
            <a:off x="462961" y="199600"/>
            <a:ext cx="6803904" cy="8098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HKSTP Incubation and Acceleration Programm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accent5"/>
                </a:solidFill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Fit the needs for different stages of Startups</a:t>
            </a:r>
            <a:endParaRPr kumimoji="0" lang="de-DE" sz="20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6A13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80566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ng exposure of a rocket launch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1842" y="0"/>
            <a:ext cx="11930158" cy="5846885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D59DE715-E0F7-F74B-BF92-224A5CA7E228}"/>
              </a:ext>
            </a:extLst>
          </p:cNvPr>
          <p:cNvSpPr txBox="1">
            <a:spLocks/>
          </p:cNvSpPr>
          <p:nvPr/>
        </p:nvSpPr>
        <p:spPr>
          <a:xfrm>
            <a:off x="831850" y="614317"/>
            <a:ext cx="10515600" cy="30712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bg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  <a:t>TO INFINITY AND BEYOND</a:t>
            </a:r>
            <a:br>
              <a:rPr kumimoji="0" lang="en-US" sz="66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</a:br>
            <a:b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</a:b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  <a:t>Skyrocket Your Valuation</a:t>
            </a:r>
            <a:b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</a:br>
            <a:r>
              <a:rPr kumimoji="0" lang="en-US" sz="28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j-cs"/>
              </a:rPr>
              <a:t>Become the World’s Household Name</a:t>
            </a:r>
            <a:endParaRPr kumimoji="0" lang="en-US" sz="6600" b="0" i="0" u="none" strike="noStrike" kern="120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j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55A3D02-B806-2A44-AC49-FEAB49429224}"/>
              </a:ext>
            </a:extLst>
          </p:cNvPr>
          <p:cNvSpPr/>
          <p:nvPr/>
        </p:nvSpPr>
        <p:spPr>
          <a:xfrm>
            <a:off x="330668" y="5970738"/>
            <a:ext cx="1193015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+mn-cs"/>
              </a:rPr>
              <a:t>For enquiries, please email to </a:t>
            </a:r>
            <a:r>
              <a:rPr lang="en-US" b="1" u="sng" dirty="0">
                <a:solidFill>
                  <a:srgbClr val="FF7600"/>
                </a:solidFill>
                <a:latin typeface="Century Gothic" panose="020B0502020202020204" pitchFamily="34" charset="0"/>
                <a:ea typeface="Times New Roman" panose="02020603050405020304" pitchFamily="18" charset="0"/>
              </a:rPr>
              <a:t>acceleration</a:t>
            </a: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srgbClr val="FF7600"/>
                </a:solidFill>
                <a:effectLst/>
                <a:uLnTx/>
                <a:uFillTx/>
                <a:latin typeface="Century Gothic" panose="020B0502020202020204" pitchFamily="34" charset="0"/>
                <a:ea typeface="Times New Roman" panose="02020603050405020304" pitchFamily="18" charset="0"/>
                <a:cs typeface="+mn-c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hkstp.org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7600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062392" y="4220294"/>
            <a:ext cx="1522277" cy="1547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10677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CDABD35-992A-4EC7-B3DC-2F0FBC0F7355}"/>
              </a:ext>
            </a:extLst>
          </p:cNvPr>
          <p:cNvSpPr/>
          <p:nvPr/>
        </p:nvSpPr>
        <p:spPr>
          <a:xfrm>
            <a:off x="492246" y="1088580"/>
            <a:ext cx="11403647" cy="537601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3" name="Titel 3">
            <a:extLst>
              <a:ext uri="{FF2B5EF4-FFF2-40B4-BE49-F238E27FC236}">
                <a16:creationId xmlns:a16="http://schemas.microsoft.com/office/drawing/2014/main" id="{DC7A7379-CB8A-48D2-9A41-4738E9F3DE47}"/>
              </a:ext>
            </a:extLst>
          </p:cNvPr>
          <p:cNvSpPr txBox="1">
            <a:spLocks/>
          </p:cNvSpPr>
          <p:nvPr/>
        </p:nvSpPr>
        <p:spPr>
          <a:xfrm>
            <a:off x="492246" y="314078"/>
            <a:ext cx="6803904" cy="8098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400" b="1" dirty="0">
                <a:solidFill>
                  <a:srgbClr val="002D72"/>
                </a:solidFill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Powerhouse of Startups‘ Growth Engine</a:t>
            </a:r>
          </a:p>
          <a:p>
            <a:pPr>
              <a:defRPr/>
            </a:pPr>
            <a:r>
              <a:rPr kumimoji="0" lang="de-DE" sz="2000" i="0" u="none" strike="noStrike" kern="1200" cap="none" spc="0" normalizeH="0" baseline="0" noProof="0" dirty="0">
                <a:ln>
                  <a:noFill/>
                </a:ln>
                <a:solidFill>
                  <a:schemeClr val="accent5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Our Mission &amp; </a:t>
            </a:r>
            <a:r>
              <a:rPr lang="de-DE" sz="2000" dirty="0">
                <a:solidFill>
                  <a:schemeClr val="accent5"/>
                </a:solidFill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Sucessful Results</a:t>
            </a:r>
            <a:endParaRPr kumimoji="0" lang="de-DE" sz="20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6A13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77F6BB71-ECAC-406F-BD6C-280B35C9A311}"/>
              </a:ext>
            </a:extLst>
          </p:cNvPr>
          <p:cNvSpPr/>
          <p:nvPr/>
        </p:nvSpPr>
        <p:spPr>
          <a:xfrm>
            <a:off x="9857647" y="1567193"/>
            <a:ext cx="1664062" cy="519648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HK" sz="11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221FFF57-AFE4-47EC-A591-0E52CD46EB3D}"/>
              </a:ext>
            </a:extLst>
          </p:cNvPr>
          <p:cNvSpPr/>
          <p:nvPr/>
        </p:nvSpPr>
        <p:spPr>
          <a:xfrm>
            <a:off x="619822" y="1260969"/>
            <a:ext cx="2863050" cy="4918692"/>
          </a:xfrm>
          <a:prstGeom prst="roundRect">
            <a:avLst/>
          </a:prstGeom>
          <a:solidFill>
            <a:schemeClr val="bg1"/>
          </a:solidFill>
          <a:ln w="38100">
            <a:solidFill>
              <a:srgbClr val="7030A0"/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 dirty="0"/>
          </a:p>
        </p:txBody>
      </p:sp>
      <p:pic>
        <p:nvPicPr>
          <p:cNvPr id="16" name="Graphic 4" descr="Ribbon">
            <a:extLst>
              <a:ext uri="{FF2B5EF4-FFF2-40B4-BE49-F238E27FC236}">
                <a16:creationId xmlns:a16="http://schemas.microsoft.com/office/drawing/2014/main" id="{1125942B-D565-427A-8AEB-A45D1FA7A0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94147" y="1483085"/>
            <a:ext cx="914400" cy="914400"/>
          </a:xfrm>
          <a:prstGeom prst="rect">
            <a:avLst/>
          </a:prstGeo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40EAB4B1-DFA7-4BEF-8406-4A21456024CF}"/>
              </a:ext>
            </a:extLst>
          </p:cNvPr>
          <p:cNvGrpSpPr/>
          <p:nvPr/>
        </p:nvGrpSpPr>
        <p:grpSpPr>
          <a:xfrm>
            <a:off x="3325969" y="1316299"/>
            <a:ext cx="4831136" cy="4863362"/>
            <a:chOff x="3325969" y="1316299"/>
            <a:chExt cx="4831136" cy="4863362"/>
          </a:xfrm>
        </p:grpSpPr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C274F502-95B8-4955-AE66-FB8BC422CD9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25184" t="11439" r="45541" b="30006"/>
            <a:stretch/>
          </p:blipFill>
          <p:spPr>
            <a:xfrm>
              <a:off x="3668336" y="1316299"/>
              <a:ext cx="4488769" cy="486336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18" name="Arrow: Down 17">
              <a:extLst>
                <a:ext uri="{FF2B5EF4-FFF2-40B4-BE49-F238E27FC236}">
                  <a16:creationId xmlns:a16="http://schemas.microsoft.com/office/drawing/2014/main" id="{A276AB16-EE72-450D-B6A1-8882F8D1D8AC}"/>
                </a:ext>
              </a:extLst>
            </p:cNvPr>
            <p:cNvSpPr/>
            <p:nvPr/>
          </p:nvSpPr>
          <p:spPr>
            <a:xfrm rot="16200000">
              <a:off x="2898457" y="3564715"/>
              <a:ext cx="1279039" cy="424015"/>
            </a:xfrm>
            <a:prstGeom prst="downArrow">
              <a:avLst/>
            </a:prstGeom>
            <a:solidFill>
              <a:srgbClr val="7030A0"/>
            </a:solidFill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HK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326FA649-630F-4354-BEAE-83678419190A}"/>
              </a:ext>
            </a:extLst>
          </p:cNvPr>
          <p:cNvGrpSpPr/>
          <p:nvPr/>
        </p:nvGrpSpPr>
        <p:grpSpPr>
          <a:xfrm>
            <a:off x="8022699" y="1288634"/>
            <a:ext cx="3873194" cy="4863361"/>
            <a:chOff x="8022699" y="1288634"/>
            <a:chExt cx="3873194" cy="4863361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04A6CA6B-43D0-4DDE-9C1D-C3DCC2903E60}"/>
                </a:ext>
              </a:extLst>
            </p:cNvPr>
            <p:cNvGrpSpPr/>
            <p:nvPr/>
          </p:nvGrpSpPr>
          <p:grpSpPr>
            <a:xfrm>
              <a:off x="8203397" y="1288634"/>
              <a:ext cx="3692496" cy="4863361"/>
              <a:chOff x="4919447" y="1419990"/>
              <a:chExt cx="4684340" cy="4863362"/>
            </a:xfrm>
          </p:grpSpPr>
          <p:sp>
            <p:nvSpPr>
              <p:cNvPr id="17" name="Rectangle: Rounded Corners 16">
                <a:extLst>
                  <a:ext uri="{FF2B5EF4-FFF2-40B4-BE49-F238E27FC236}">
                    <a16:creationId xmlns:a16="http://schemas.microsoft.com/office/drawing/2014/main" id="{E006AC2C-B4AC-4E81-A770-D2A157220292}"/>
                  </a:ext>
                </a:extLst>
              </p:cNvPr>
              <p:cNvSpPr/>
              <p:nvPr/>
            </p:nvSpPr>
            <p:spPr>
              <a:xfrm>
                <a:off x="5161275" y="1419990"/>
                <a:ext cx="4145891" cy="4863362"/>
              </a:xfrm>
              <a:prstGeom prst="roundRect">
                <a:avLst/>
              </a:prstGeom>
              <a:solidFill>
                <a:schemeClr val="bg1"/>
              </a:solidFill>
              <a:ln w="38100">
                <a:solidFill>
                  <a:srgbClr val="7030A0"/>
                </a:solidFill>
              </a:ln>
            </p:spPr>
            <p:style>
              <a:lnRef idx="3">
                <a:schemeClr val="lt1"/>
              </a:lnRef>
              <a:fillRef idx="1">
                <a:schemeClr val="accent3"/>
              </a:fillRef>
              <a:effectRef idx="1">
                <a:schemeClr val="accent3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HK" dirty="0"/>
              </a:p>
            </p:txBody>
          </p:sp>
          <p:pic>
            <p:nvPicPr>
              <p:cNvPr id="14" name="Graphic 13" descr="Wreath">
                <a:extLst>
                  <a:ext uri="{FF2B5EF4-FFF2-40B4-BE49-F238E27FC236}">
                    <a16:creationId xmlns:a16="http://schemas.microsoft.com/office/drawing/2014/main" id="{1229B497-C22D-4343-AFC8-15BF1034CC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6777020" y="1567193"/>
                <a:ext cx="914400" cy="914400"/>
              </a:xfrm>
              <a:prstGeom prst="rect">
                <a:avLst/>
              </a:prstGeom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E0EED6AA-1DD5-42EF-BBAF-3F58ECB741DE}"/>
                  </a:ext>
                </a:extLst>
              </p:cNvPr>
              <p:cNvSpPr txBox="1"/>
              <p:nvPr/>
            </p:nvSpPr>
            <p:spPr>
              <a:xfrm>
                <a:off x="5451689" y="2723158"/>
                <a:ext cx="3565062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Our Success Metrics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Since 2018</a:t>
                </a:r>
              </a:p>
            </p:txBody>
          </p:sp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id="{51DFBBE4-9532-49A6-B17E-9FC6F33A7705}"/>
                  </a:ext>
                </a:extLst>
              </p:cNvPr>
              <p:cNvSpPr txBox="1"/>
              <p:nvPr/>
            </p:nvSpPr>
            <p:spPr>
              <a:xfrm>
                <a:off x="4919447" y="4478715"/>
                <a:ext cx="2591440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Max. 20X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200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Revenue Gain@1 Year</a:t>
                </a:r>
              </a:p>
            </p:txBody>
          </p:sp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67CB0376-19A9-4033-86B7-90D8B52EF1F1}"/>
                  </a:ext>
                </a:extLst>
              </p:cNvPr>
              <p:cNvSpPr txBox="1"/>
              <p:nvPr/>
            </p:nvSpPr>
            <p:spPr>
              <a:xfrm>
                <a:off x="7433089" y="3716134"/>
                <a:ext cx="1748996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solidFill>
                      <a:schemeClr val="accent5"/>
                    </a:solidFill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USD290M+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200" dirty="0">
                    <a:solidFill>
                      <a:schemeClr val="accent5"/>
                    </a:solidFill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Fund Raised</a:t>
                </a: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D0EEEA8F-99F3-4A68-8E1F-260D939DDE94}"/>
                  </a:ext>
                </a:extLst>
              </p:cNvPr>
              <p:cNvSpPr txBox="1"/>
              <p:nvPr/>
            </p:nvSpPr>
            <p:spPr>
              <a:xfrm>
                <a:off x="5084590" y="3719651"/>
                <a:ext cx="2591441" cy="52322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solidFill>
                      <a:schemeClr val="accent5"/>
                    </a:solidFill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USD1.7B+ Valuation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200" dirty="0">
                    <a:solidFill>
                      <a:schemeClr val="accent5"/>
                    </a:solidFill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Overall AP Portfolio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213FCB4D-BEF8-427D-A02F-329F01351E00}"/>
                  </a:ext>
                </a:extLst>
              </p:cNvPr>
              <p:cNvSpPr txBox="1"/>
              <p:nvPr/>
            </p:nvSpPr>
            <p:spPr>
              <a:xfrm>
                <a:off x="7012346" y="4394614"/>
                <a:ext cx="2591441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600" b="1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54+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200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Significant Growth 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1200" dirty="0">
                    <a:latin typeface="Calibri" panose="020F0502020204030204" pitchFamily="34" charset="0"/>
                    <a:ea typeface="Microsoft JhengHei"/>
                    <a:cs typeface="Calibri" panose="020F0502020204030204" pitchFamily="34" charset="0"/>
                  </a:rPr>
                  <a:t>in Revenue</a:t>
                </a:r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A275137C-F0D7-414E-A312-4A8500457E32}"/>
                  </a:ext>
                </a:extLst>
              </p:cNvPr>
              <p:cNvSpPr/>
              <p:nvPr/>
            </p:nvSpPr>
            <p:spPr>
              <a:xfrm>
                <a:off x="5351899" y="5469889"/>
                <a:ext cx="1639068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2000" b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1</a:t>
                </a:r>
                <a:r>
                  <a:rPr lang="en-HK" b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 </a:t>
                </a:r>
                <a:r>
                  <a:rPr lang="en-HK" sz="1600" i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Unicorn</a:t>
                </a:r>
                <a:endParaRPr lang="en-HK" i="1" dirty="0">
                  <a:solidFill>
                    <a:srgbClr val="00B050"/>
                  </a:solidFill>
                  <a:latin typeface="Century Gothic" panose="020B0502020202020204" pitchFamily="34" charset="0"/>
                  <a:ea typeface="Microsoft JhengHei"/>
                </a:endParaRPr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F0EDC9CB-5E0F-4B2F-AF78-EF2F26875327}"/>
                  </a:ext>
                </a:extLst>
              </p:cNvPr>
              <p:cNvSpPr/>
              <p:nvPr/>
            </p:nvSpPr>
            <p:spPr>
              <a:xfrm>
                <a:off x="7234220" y="5500667"/>
                <a:ext cx="2032410" cy="40011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HK" sz="2000" b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3</a:t>
                </a:r>
                <a:r>
                  <a:rPr lang="en-HK" b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 </a:t>
                </a:r>
                <a:r>
                  <a:rPr lang="en-HK" sz="1600" i="1" dirty="0">
                    <a:solidFill>
                      <a:srgbClr val="00B050"/>
                    </a:solidFill>
                    <a:latin typeface="Century Gothic" panose="020B0502020202020204" pitchFamily="34" charset="0"/>
                    <a:ea typeface="Microsoft JhengHei"/>
                  </a:rPr>
                  <a:t>Acquired</a:t>
                </a:r>
              </a:p>
            </p:txBody>
          </p:sp>
        </p:grpSp>
        <p:sp>
          <p:nvSpPr>
            <p:cNvPr id="26" name="Arrow: Down 25">
              <a:extLst>
                <a:ext uri="{FF2B5EF4-FFF2-40B4-BE49-F238E27FC236}">
                  <a16:creationId xmlns:a16="http://schemas.microsoft.com/office/drawing/2014/main" id="{70F42489-E6BC-4350-B9D1-CE520A2E51E5}"/>
                </a:ext>
              </a:extLst>
            </p:cNvPr>
            <p:cNvSpPr/>
            <p:nvPr/>
          </p:nvSpPr>
          <p:spPr>
            <a:xfrm rot="16200000">
              <a:off x="7595187" y="3564715"/>
              <a:ext cx="1279039" cy="424015"/>
            </a:xfrm>
            <a:prstGeom prst="downArrow">
              <a:avLst/>
            </a:prstGeom>
            <a:solidFill>
              <a:srgbClr val="7030A0"/>
            </a:solidFill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HK"/>
            </a:p>
          </p:txBody>
        </p:sp>
      </p:grpSp>
      <p:sp>
        <p:nvSpPr>
          <p:cNvPr id="51" name="TextBox 50">
            <a:extLst>
              <a:ext uri="{FF2B5EF4-FFF2-40B4-BE49-F238E27FC236}">
                <a16:creationId xmlns:a16="http://schemas.microsoft.com/office/drawing/2014/main" id="{28F524F4-708B-44A3-8B0E-8FBB49A88690}"/>
              </a:ext>
            </a:extLst>
          </p:cNvPr>
          <p:cNvSpPr txBox="1"/>
          <p:nvPr/>
        </p:nvSpPr>
        <p:spPr>
          <a:xfrm>
            <a:off x="619822" y="2756621"/>
            <a:ext cx="286305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600" b="1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Vision &amp; Miss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HK" sz="1600" b="1" i="0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600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Accelerate </a:t>
            </a:r>
            <a:r>
              <a:rPr lang="en-HK" sz="1600" b="1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Later-stage</a:t>
            </a:r>
            <a:r>
              <a:rPr lang="en-HK" sz="1600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600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tech ventur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6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With our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600" b="1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Quality resour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5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Bringing our </a:t>
            </a:r>
            <a:r>
              <a:rPr kumimoji="0" lang="en-HK" sz="1500" i="0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Acceleratees</a:t>
            </a:r>
            <a:r>
              <a:rPr kumimoji="0" lang="en-HK" sz="15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500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Achieve </a:t>
            </a:r>
            <a:r>
              <a:rPr lang="en-HK" sz="1500" b="1" dirty="0"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higher leve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en-HK" sz="1500" i="0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And beco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HK" sz="1500" dirty="0">
                <a:solidFill>
                  <a:srgbClr val="FF0000"/>
                </a:solidFill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Globally / Industrially recognized</a:t>
            </a:r>
            <a:endParaRPr lang="en-US" sz="1500" dirty="0">
              <a:solidFill>
                <a:srgbClr val="FF0000"/>
              </a:solidFill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1517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16" descr="Checklist RTL">
            <a:extLst>
              <a:ext uri="{FF2B5EF4-FFF2-40B4-BE49-F238E27FC236}">
                <a16:creationId xmlns:a16="http://schemas.microsoft.com/office/drawing/2014/main" id="{603C28CE-19DF-EF42-BCF2-B61330B5DEB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766057" y="4448232"/>
            <a:ext cx="2243063" cy="2243063"/>
          </a:xfrm>
          <a:prstGeom prst="rect">
            <a:avLst/>
          </a:prstGeom>
        </p:spPr>
      </p:pic>
      <p:sp>
        <p:nvSpPr>
          <p:cNvPr id="8" name="Content Placeholder 14">
            <a:extLst>
              <a:ext uri="{FF2B5EF4-FFF2-40B4-BE49-F238E27FC236}">
                <a16:creationId xmlns:a16="http://schemas.microsoft.com/office/drawing/2014/main" id="{D71C0C2F-3884-0143-ABA1-6A6428E46029}"/>
              </a:ext>
            </a:extLst>
          </p:cNvPr>
          <p:cNvSpPr txBox="1">
            <a:spLocks/>
          </p:cNvSpPr>
          <p:nvPr/>
        </p:nvSpPr>
        <p:spPr>
          <a:xfrm>
            <a:off x="637901" y="1995376"/>
            <a:ext cx="5486483" cy="3948167"/>
          </a:xfrm>
          <a:prstGeom prst="rect">
            <a:avLst/>
          </a:prstGeom>
        </p:spPr>
        <p:txBody>
          <a:bodyPr>
            <a:noAutofit/>
          </a:bodyPr>
          <a:lstStyle>
            <a:lvl1pPr marL="228555" indent="-228555" algn="l" defTabSz="91421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6"/>
              </a:buBlip>
              <a:defRPr lang="en-US" sz="24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1pPr>
            <a:lvl2pPr marL="685663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lang="en-US" sz="20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2pPr>
            <a:lvl3pPr marL="1142772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lang="en-US" sz="18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3pPr>
            <a:lvl4pPr marL="1599880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lang="en-US" sz="16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4pPr>
            <a:lvl5pPr marL="2056989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6"/>
              </a:buBlip>
              <a:defRPr lang="en-US" sz="1600" b="0" i="0" kern="1200" dirty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5pPr>
            <a:lvl6pPr marL="2514097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FF6A13"/>
              </a:buClr>
              <a:buSzPct val="100000"/>
              <a:buFontTx/>
              <a:buNone/>
              <a:tabLst/>
              <a:defRPr/>
            </a:pPr>
            <a:r>
              <a:rPr kumimoji="0" lang="en-HK" sz="2400" b="1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Do you possess the below?</a:t>
            </a:r>
          </a:p>
          <a:p>
            <a:pPr marL="0" marR="0" lvl="0" indent="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FF6A13"/>
              </a:buClr>
              <a:buSzPct val="100000"/>
              <a:buFontTx/>
              <a:buNone/>
              <a:tabLst/>
              <a:defRPr/>
            </a:pPr>
            <a:endParaRPr kumimoji="0" lang="en-HK" sz="2000" b="1" i="0" u="none" strike="noStrike" kern="1200" cap="none" spc="0" normalizeH="0" baseline="0" noProof="0" dirty="0">
              <a:ln>
                <a:noFill/>
              </a:ln>
              <a:solidFill>
                <a:srgbClr val="3F3F3F">
                  <a:lumMod val="7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Source Sans Pro" panose="020B0503030403020204" pitchFamily="34" charset="0"/>
              <a:cs typeface="Segoe UI" panose="020B0502040204020203" pitchFamily="34" charset="0"/>
            </a:endParaRPr>
          </a:p>
          <a:p>
            <a:pPr marL="317500" marR="0" lvl="0" indent="-31750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HK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Market validated product / solution</a:t>
            </a:r>
          </a:p>
          <a:p>
            <a:pPr marL="317500" marR="0" lvl="0" indent="-31750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HK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Solid business traction </a:t>
            </a:r>
          </a:p>
          <a:p>
            <a:pPr marL="317500" marR="0" lvl="0" indent="-31750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HK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Recurring revenue</a:t>
            </a:r>
          </a:p>
          <a:p>
            <a:pPr marL="317500" marR="0" lvl="0" indent="-31750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HK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Scalable business model</a:t>
            </a:r>
          </a:p>
          <a:p>
            <a:pPr marL="317500" marR="0" lvl="0" indent="-317500" algn="l" defTabSz="914217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HK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>
                    <a:lumMod val="75000"/>
                  </a:srgbClr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Segoe UI" panose="020B0502040204020203" pitchFamily="34" charset="0"/>
              </a:rPr>
              <a:t>Solid plan to grow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292091D-6984-3D49-BF51-F5DAAEBA9428}"/>
              </a:ext>
            </a:extLst>
          </p:cNvPr>
          <p:cNvSpPr/>
          <p:nvPr/>
        </p:nvSpPr>
        <p:spPr>
          <a:xfrm>
            <a:off x="6124385" y="1995376"/>
            <a:ext cx="5549455" cy="32006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FF6A13"/>
              </a:buClr>
              <a:buSzPct val="100000"/>
              <a:buFontTx/>
              <a:buNone/>
              <a:tabLst/>
              <a:defRPr/>
            </a:pPr>
            <a:r>
              <a:rPr kumimoji="0" lang="en-US" altLang="zh-TW" sz="2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Are these your next growth targets?</a:t>
            </a:r>
          </a:p>
          <a:p>
            <a:pPr marL="0" marR="0" lvl="0" indent="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FF6A13"/>
              </a:buClr>
              <a:buSzPct val="100000"/>
              <a:buFontTx/>
              <a:buNone/>
              <a:tabLst/>
              <a:defRPr/>
            </a:pPr>
            <a:endParaRPr kumimoji="0" lang="en-US" altLang="zh-TW" sz="2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Source Sans Pro" panose="020B0503030403020204" pitchFamily="34" charset="0"/>
              <a:cs typeface="+mn-cs"/>
            </a:endParaRP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US" altLang="zh-TW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BD and market expansion</a:t>
            </a: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Revenue growth and profitability</a:t>
            </a: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Value building &amp; growth financing</a:t>
            </a: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Become a household name</a:t>
            </a: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Source Sans Pro" panose="020B0503030403020204" pitchFamily="34" charset="0"/>
                <a:cs typeface="+mn-cs"/>
              </a:rPr>
              <a:t>Exit / IPO</a:t>
            </a:r>
          </a:p>
          <a:p>
            <a:pPr marL="342900" marR="0" lvl="0" indent="-342900" algn="l" defTabSz="914400" rtl="0" eaLnBrk="0" fontAlgn="base" latinLnBrk="0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3F3F3F">
                  <a:lumMod val="75000"/>
                  <a:lumOff val="25000"/>
                </a:srgbClr>
              </a:buClr>
              <a:buSzPct val="100000"/>
              <a:buFont typeface="Wingdings" pitchFamily="2" charset="2"/>
              <a:buChar char="q"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3F3F3F">
                  <a:lumMod val="75000"/>
                  <a:lumOff val="25000"/>
                </a:srgbClr>
              </a:solidFill>
              <a:effectLst/>
              <a:uLnTx/>
              <a:uFillTx/>
              <a:latin typeface="Century Gothic" panose="020B0502020202020204" pitchFamily="34" charset="0"/>
              <a:ea typeface="Source Sans Pro" panose="020B0503030403020204" pitchFamily="34" charset="0"/>
              <a:cs typeface="+mn-cs"/>
            </a:endParaRPr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6414ECAB-8EA2-4781-9776-A4E2CAEE656E}"/>
              </a:ext>
            </a:extLst>
          </p:cNvPr>
          <p:cNvSpPr txBox="1">
            <a:spLocks/>
          </p:cNvSpPr>
          <p:nvPr/>
        </p:nvSpPr>
        <p:spPr>
          <a:xfrm>
            <a:off x="637901" y="336296"/>
            <a:ext cx="6803904" cy="8098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Are these your next growth targets?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2000" b="1" i="0" u="none" strike="noStrike" kern="1200" cap="none" spc="0" normalizeH="0" baseline="0" noProof="0" dirty="0">
              <a:ln>
                <a:noFill/>
              </a:ln>
              <a:solidFill>
                <a:srgbClr val="FF6A13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40158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Free Photo Of People Doing Handshakes Stock Photo">
            <a:extLst>
              <a:ext uri="{FF2B5EF4-FFF2-40B4-BE49-F238E27FC236}">
                <a16:creationId xmlns:a16="http://schemas.microsoft.com/office/drawing/2014/main" id="{019FC748-FC94-3DC1-AEA4-A87750CB77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91" b="15222"/>
          <a:stretch/>
        </p:blipFill>
        <p:spPr bwMode="auto">
          <a:xfrm>
            <a:off x="249864" y="0"/>
            <a:ext cx="11942136" cy="6589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525E615-CBD8-5518-C752-8AA2E7D3BDCA}"/>
              </a:ext>
            </a:extLst>
          </p:cNvPr>
          <p:cNvSpPr txBox="1">
            <a:spLocks/>
          </p:cNvSpPr>
          <p:nvPr/>
        </p:nvSpPr>
        <p:spPr>
          <a:xfrm>
            <a:off x="1170292" y="1244600"/>
            <a:ext cx="10127712" cy="3175197"/>
          </a:xfrm>
          <a:prstGeom prst="rect">
            <a:avLst/>
          </a:prstGeom>
        </p:spPr>
        <p:txBody>
          <a:bodyPr>
            <a:normAutofit/>
          </a:bodyPr>
          <a:lstStyle>
            <a:lvl1pPr marL="228555" indent="-228555" algn="l" defTabSz="91421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Blip>
                <a:blip r:embed="rId3"/>
              </a:buBlip>
              <a:defRPr lang="en-US" sz="24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1pPr>
            <a:lvl2pPr marL="685663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lang="en-US" sz="20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2pPr>
            <a:lvl3pPr marL="1142772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lang="en-US" sz="18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3pPr>
            <a:lvl4pPr marL="1599880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lang="en-US" sz="1600" b="0" i="0" kern="1200" dirty="0" smtClean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4pPr>
            <a:lvl5pPr marL="2056989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Blip>
                <a:blip r:embed="rId3"/>
              </a:buBlip>
              <a:defRPr lang="en-US" sz="1600" b="0" i="0" kern="1200" dirty="0">
                <a:solidFill>
                  <a:schemeClr val="tx1">
                    <a:lumMod val="75000"/>
                  </a:schemeClr>
                </a:solidFill>
                <a:effectLst/>
                <a:latin typeface="+mn-lt"/>
                <a:ea typeface="Open Sans Light" panose="020B0306030504020204" pitchFamily="34" charset="0"/>
                <a:cs typeface="Open Sans" charset="0"/>
              </a:defRPr>
            </a:lvl5pPr>
            <a:lvl6pPr marL="2514097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206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314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423" indent="-228555" algn="l" defTabSz="91421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0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Together, Make it better, </a:t>
            </a:r>
          </a:p>
          <a:p>
            <a:br>
              <a:rPr lang="en-US" sz="20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</a:br>
            <a:r>
              <a:rPr lang="en-US" sz="4800" b="1" dirty="0">
                <a:solidFill>
                  <a:srgbClr val="FF6A1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Acceleration Programme </a:t>
            </a:r>
          </a:p>
          <a:p>
            <a:br>
              <a:rPr lang="en-US" sz="20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</a:br>
            <a:r>
              <a:rPr lang="en-US" sz="4000" dirty="0">
                <a:solidFill>
                  <a:schemeClr val="bg1">
                    <a:lumMod val="9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Gothic" panose="020B0502020202020204" pitchFamily="34" charset="0"/>
              </a:rPr>
              <a:t>is your right way to go!</a:t>
            </a:r>
          </a:p>
        </p:txBody>
      </p:sp>
    </p:spTree>
    <p:extLst>
      <p:ext uri="{BB962C8B-B14F-4D97-AF65-F5344CB8AC3E}">
        <p14:creationId xmlns:p14="http://schemas.microsoft.com/office/powerpoint/2010/main" val="31803171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3">
            <a:extLst>
              <a:ext uri="{FF2B5EF4-FFF2-40B4-BE49-F238E27FC236}">
                <a16:creationId xmlns:a16="http://schemas.microsoft.com/office/drawing/2014/main" id="{DC7A7379-CB8A-48D2-9A41-4738E9F3DE47}"/>
              </a:ext>
            </a:extLst>
          </p:cNvPr>
          <p:cNvSpPr txBox="1">
            <a:spLocks/>
          </p:cNvSpPr>
          <p:nvPr/>
        </p:nvSpPr>
        <p:spPr>
          <a:xfrm>
            <a:off x="376343" y="196762"/>
            <a:ext cx="6803904" cy="80987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rgbClr val="002D72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Our Objectives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000" dirty="0">
                <a:solidFill>
                  <a:schemeClr val="accent5"/>
                </a:solidFill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Growth, Scale Up &amp; Expand</a:t>
            </a:r>
            <a:endParaRPr kumimoji="0" lang="de-DE" sz="1800" i="0" u="none" strike="noStrike" kern="1200" cap="none" spc="0" normalizeH="0" baseline="0" noProof="0" dirty="0">
              <a:ln>
                <a:noFill/>
              </a:ln>
              <a:solidFill>
                <a:schemeClr val="accent5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50318185-4A05-4D21-A2A2-FCD9306077A6}"/>
              </a:ext>
            </a:extLst>
          </p:cNvPr>
          <p:cNvSpPr/>
          <p:nvPr/>
        </p:nvSpPr>
        <p:spPr>
          <a:xfrm>
            <a:off x="1335821" y="1609169"/>
            <a:ext cx="3046857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altLang="zh-H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2 </a:t>
            </a:r>
            <a:r>
              <a:rPr kumimoji="0" lang="en-HK" altLang="zh-HK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yrs</a:t>
            </a:r>
            <a:r>
              <a:rPr kumimoji="0" lang="en-HK" altLang="zh-H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 In Prog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altLang="zh-HK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t>Growth in Revenue &amp; Valuation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248ED6D2-B0E2-4950-9844-5C3FF2850C41}"/>
              </a:ext>
            </a:extLst>
          </p:cNvPr>
          <p:cNvSpPr/>
          <p:nvPr/>
        </p:nvSpPr>
        <p:spPr>
          <a:xfrm>
            <a:off x="1637183" y="2213480"/>
            <a:ext cx="256424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HK" altLang="zh-HK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“Revenue Jump”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HK" altLang="zh-HK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100%+ </a:t>
            </a:r>
            <a:r>
              <a:rPr kumimoji="0" lang="en-HK" altLang="zh-HK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YoY revenue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lang="en-HK" altLang="zh-HK" sz="1400" b="1" dirty="0">
                <a:solidFill>
                  <a:srgbClr val="FF0000"/>
                </a:solidFill>
                <a:latin typeface="Calibri"/>
                <a:ea typeface="新細明體" panose="02020500000000000000" pitchFamily="18" charset="-120"/>
              </a:rPr>
              <a:t>Successful</a:t>
            </a:r>
            <a:r>
              <a:rPr lang="en-HK" altLang="zh-HK" sz="1400" dirty="0">
                <a:solidFill>
                  <a:srgbClr val="FF0000"/>
                </a:solidFill>
                <a:latin typeface="Calibri"/>
                <a:ea typeface="新細明體" panose="02020500000000000000" pitchFamily="18" charset="-120"/>
              </a:rPr>
              <a:t> fundraising</a:t>
            </a:r>
            <a:endParaRPr kumimoji="0" lang="zh-HK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9D06027E-65F4-4FFE-B672-E1AE66B9D63B}"/>
              </a:ext>
            </a:extLst>
          </p:cNvPr>
          <p:cNvSpPr/>
          <p:nvPr/>
        </p:nvSpPr>
        <p:spPr>
          <a:xfrm>
            <a:off x="7213836" y="1537206"/>
            <a:ext cx="3268569" cy="584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altLang="zh-HK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In 5-7 </a:t>
            </a:r>
            <a:r>
              <a:rPr kumimoji="0" lang="en-HK" altLang="zh-HK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yrs</a:t>
            </a:r>
            <a:endParaRPr kumimoji="0" lang="en-HK" altLang="zh-HK" sz="16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/>
              <a:ea typeface="新細明體" panose="02020500000000000000" pitchFamily="18" charset="-120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HK" altLang="zh-HK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Regional/Global player &amp; Exit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D42C394C-9C4B-40C8-BAC5-3AEA32C741B9}"/>
              </a:ext>
            </a:extLst>
          </p:cNvPr>
          <p:cNvSpPr/>
          <p:nvPr/>
        </p:nvSpPr>
        <p:spPr>
          <a:xfrm>
            <a:off x="7201397" y="2180293"/>
            <a:ext cx="328100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HK" altLang="zh-HK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40</a:t>
            </a:r>
            <a:r>
              <a:rPr kumimoji="0" lang="en-HK" altLang="zh-HK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/>
                <a:ea typeface="新細明體" panose="02020500000000000000" pitchFamily="18" charset="-120"/>
                <a:cs typeface="+mn-cs"/>
              </a:rPr>
              <a:t>% of revenue outside HK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  <a:defRPr/>
            </a:pPr>
            <a:r>
              <a:rPr kumimoji="0" lang="en-HK" altLang="zh-HK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t>10% </a:t>
            </a:r>
            <a:r>
              <a:rPr kumimoji="0" lang="en-HK" altLang="zh-HK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t>of company exited by M&amp;A </a:t>
            </a:r>
            <a:r>
              <a:rPr lang="en-HK" altLang="zh-HK" sz="1400" dirty="0">
                <a:solidFill>
                  <a:srgbClr val="FF0000"/>
                </a:solidFill>
                <a:latin typeface="Calibri" panose="020F0502020204030204"/>
                <a:ea typeface="新細明體" panose="02020500000000000000" pitchFamily="18" charset="-120"/>
              </a:rPr>
              <a:t>/</a:t>
            </a:r>
            <a:r>
              <a:rPr kumimoji="0" lang="en-HK" altLang="zh-HK" sz="14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新細明體" panose="02020500000000000000" pitchFamily="18" charset="-120"/>
                <a:cs typeface="+mn-cs"/>
              </a:rPr>
              <a:t>IPO </a:t>
            </a:r>
            <a:endParaRPr kumimoji="0" lang="zh-HK" altLang="en-US" sz="1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新細明體" panose="02020500000000000000" pitchFamily="18" charset="-120"/>
              <a:cs typeface="+mn-cs"/>
            </a:endParaRPr>
          </a:p>
        </p:txBody>
      </p:sp>
      <p:cxnSp>
        <p:nvCxnSpPr>
          <p:cNvPr id="80" name="Straight Arrow Connector 79">
            <a:extLst>
              <a:ext uri="{FF2B5EF4-FFF2-40B4-BE49-F238E27FC236}">
                <a16:creationId xmlns:a16="http://schemas.microsoft.com/office/drawing/2014/main" id="{5E4393C3-59E5-4285-A1C0-B02FC29236A2}"/>
              </a:ext>
            </a:extLst>
          </p:cNvPr>
          <p:cNvCxnSpPr>
            <a:cxnSpLocks/>
          </p:cNvCxnSpPr>
          <p:nvPr/>
        </p:nvCxnSpPr>
        <p:spPr>
          <a:xfrm>
            <a:off x="1236678" y="3616977"/>
            <a:ext cx="9995973" cy="0"/>
          </a:xfrm>
          <a:prstGeom prst="straightConnector1">
            <a:avLst/>
          </a:prstGeom>
          <a:noFill/>
          <a:ln w="139700" cap="flat" cmpd="sng" algn="ctr">
            <a:gradFill>
              <a:gsLst>
                <a:gs pos="0">
                  <a:sysClr val="window" lastClr="FFFFFF">
                    <a:lumMod val="75000"/>
                  </a:sysClr>
                </a:gs>
                <a:gs pos="39000">
                  <a:srgbClr val="ED7D31">
                    <a:lumMod val="60000"/>
                    <a:lumOff val="40000"/>
                  </a:srgbClr>
                </a:gs>
                <a:gs pos="100000">
                  <a:srgbClr val="FF7600"/>
                </a:gs>
              </a:gsLst>
              <a:lin ang="0" scaled="0"/>
            </a:gradFill>
            <a:prstDash val="solid"/>
            <a:miter lim="800000"/>
            <a:tailEnd type="triangle"/>
          </a:ln>
          <a:effectLst/>
        </p:spPr>
      </p:cxnSp>
      <p:sp>
        <p:nvSpPr>
          <p:cNvPr id="82" name="Oval 81">
            <a:extLst>
              <a:ext uri="{FF2B5EF4-FFF2-40B4-BE49-F238E27FC236}">
                <a16:creationId xmlns:a16="http://schemas.microsoft.com/office/drawing/2014/main" id="{12941519-10D7-4A54-889E-4F441ABAB10F}"/>
              </a:ext>
            </a:extLst>
          </p:cNvPr>
          <p:cNvSpPr>
            <a:spLocks noChangeAspect="1"/>
          </p:cNvSpPr>
          <p:nvPr/>
        </p:nvSpPr>
        <p:spPr>
          <a:xfrm>
            <a:off x="8284758" y="3130113"/>
            <a:ext cx="864000" cy="864000"/>
          </a:xfrm>
          <a:prstGeom prst="ellipse">
            <a:avLst/>
          </a:prstGeom>
          <a:solidFill>
            <a:sysClr val="window" lastClr="FFFFFF"/>
          </a:solidFill>
          <a:ln w="104775" cap="flat" cmpd="sng" algn="ctr">
            <a:solidFill>
              <a:srgbClr val="08469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3" name="Oval 82">
            <a:extLst>
              <a:ext uri="{FF2B5EF4-FFF2-40B4-BE49-F238E27FC236}">
                <a16:creationId xmlns:a16="http://schemas.microsoft.com/office/drawing/2014/main" id="{261080A7-9791-43A2-85FA-2E402FA369F3}"/>
              </a:ext>
            </a:extLst>
          </p:cNvPr>
          <p:cNvSpPr/>
          <p:nvPr/>
        </p:nvSpPr>
        <p:spPr>
          <a:xfrm>
            <a:off x="2320861" y="3318071"/>
            <a:ext cx="538389" cy="538389"/>
          </a:xfrm>
          <a:prstGeom prst="ellipse">
            <a:avLst/>
          </a:prstGeom>
          <a:solidFill>
            <a:sysClr val="window" lastClr="FFFFFF"/>
          </a:solidFill>
          <a:ln w="104775" cap="flat" cmpd="sng" algn="ctr">
            <a:solidFill>
              <a:srgbClr val="08469B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5F032ACA-52E9-4759-B52C-DD0229C7A6A6}"/>
              </a:ext>
            </a:extLst>
          </p:cNvPr>
          <p:cNvSpPr txBox="1"/>
          <p:nvPr/>
        </p:nvSpPr>
        <p:spPr>
          <a:xfrm>
            <a:off x="4318120" y="4342267"/>
            <a:ext cx="39982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Significant Growth in Business and Valuation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862ED5-1376-4FCA-AEB6-148CE99C9BAD}"/>
              </a:ext>
            </a:extLst>
          </p:cNvPr>
          <p:cNvSpPr/>
          <p:nvPr/>
        </p:nvSpPr>
        <p:spPr>
          <a:xfrm>
            <a:off x="1335821" y="1590003"/>
            <a:ext cx="3046857" cy="141432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581F2E5F-F9D2-4283-AFE8-CB5243FB83D5}"/>
              </a:ext>
            </a:extLst>
          </p:cNvPr>
          <p:cNvSpPr/>
          <p:nvPr/>
        </p:nvSpPr>
        <p:spPr>
          <a:xfrm>
            <a:off x="7201397" y="1546741"/>
            <a:ext cx="3281009" cy="1414329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HK"/>
          </a:p>
        </p:txBody>
      </p:sp>
      <p:sp>
        <p:nvSpPr>
          <p:cNvPr id="103" name="Rectangle 102">
            <a:extLst>
              <a:ext uri="{FF2B5EF4-FFF2-40B4-BE49-F238E27FC236}">
                <a16:creationId xmlns:a16="http://schemas.microsoft.com/office/drawing/2014/main" id="{68B75489-0038-4E7F-9AB2-EDB5D4AF570F}"/>
              </a:ext>
            </a:extLst>
          </p:cNvPr>
          <p:cNvSpPr/>
          <p:nvPr/>
        </p:nvSpPr>
        <p:spPr>
          <a:xfrm>
            <a:off x="1236678" y="4724163"/>
            <a:ext cx="1785045" cy="640652"/>
          </a:xfrm>
          <a:prstGeom prst="rect">
            <a:avLst/>
          </a:prstGeom>
          <a:solidFill>
            <a:srgbClr val="003E9A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</a:t>
            </a:r>
            <a:r>
              <a:rPr lang="en-HK" dirty="0"/>
              <a:t>USINESS</a:t>
            </a:r>
          </a:p>
        </p:txBody>
      </p:sp>
      <p:sp>
        <p:nvSpPr>
          <p:cNvPr id="104" name="Rectangle 103">
            <a:extLst>
              <a:ext uri="{FF2B5EF4-FFF2-40B4-BE49-F238E27FC236}">
                <a16:creationId xmlns:a16="http://schemas.microsoft.com/office/drawing/2014/main" id="{E79EE49C-58F7-4AB0-B812-5511CD301FF3}"/>
              </a:ext>
            </a:extLst>
          </p:cNvPr>
          <p:cNvSpPr/>
          <p:nvPr/>
        </p:nvSpPr>
        <p:spPr>
          <a:xfrm>
            <a:off x="1245638" y="5369273"/>
            <a:ext cx="1785045" cy="640652"/>
          </a:xfrm>
          <a:prstGeom prst="rect">
            <a:avLst/>
          </a:prstGeom>
          <a:solidFill>
            <a:srgbClr val="003E9A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VALUATION</a:t>
            </a:r>
            <a:endParaRPr lang="en-HK" dirty="0"/>
          </a:p>
        </p:txBody>
      </p:sp>
      <p:sp>
        <p:nvSpPr>
          <p:cNvPr id="106" name="Rectangle 105">
            <a:extLst>
              <a:ext uri="{FF2B5EF4-FFF2-40B4-BE49-F238E27FC236}">
                <a16:creationId xmlns:a16="http://schemas.microsoft.com/office/drawing/2014/main" id="{ACB92850-D43C-4EFE-900F-D9844C0E271C}"/>
              </a:ext>
            </a:extLst>
          </p:cNvPr>
          <p:cNvSpPr/>
          <p:nvPr/>
        </p:nvSpPr>
        <p:spPr>
          <a:xfrm>
            <a:off x="3032356" y="4724163"/>
            <a:ext cx="8154780" cy="640652"/>
          </a:xfrm>
          <a:prstGeom prst="rect">
            <a:avLst/>
          </a:prstGeom>
          <a:solidFill>
            <a:srgbClr val="003E9A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Revenues (HKD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Microsoft JhengHei"/>
                <a:cs typeface="Calibri" panose="020F0502020204030204" pitchFamily="34" charset="0"/>
              </a:rPr>
              <a:t>5M	 &gt;	 10M 	&gt; 	30M	 &gt; 	50M+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4652876D-4BEE-4A48-A56B-03DABBA2886D}"/>
              </a:ext>
            </a:extLst>
          </p:cNvPr>
          <p:cNvSpPr/>
          <p:nvPr/>
        </p:nvSpPr>
        <p:spPr>
          <a:xfrm>
            <a:off x="3032356" y="5365468"/>
            <a:ext cx="8154780" cy="640652"/>
          </a:xfrm>
          <a:prstGeom prst="rect">
            <a:avLst/>
          </a:prstGeom>
          <a:solidFill>
            <a:srgbClr val="003E9A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Microsoft JhengHei"/>
              <a:cs typeface="Calibri" panose="020F0502020204030204" pitchFamily="34" charset="0"/>
            </a:endParaRPr>
          </a:p>
        </p:txBody>
      </p:sp>
      <p:sp>
        <p:nvSpPr>
          <p:cNvPr id="96" name="Slide Number Placeholder 3">
            <a:extLst>
              <a:ext uri="{FF2B5EF4-FFF2-40B4-BE49-F238E27FC236}">
                <a16:creationId xmlns:a16="http://schemas.microsoft.com/office/drawing/2014/main" id="{E94D1690-52D4-4B33-A936-CA69C1F2D56D}"/>
              </a:ext>
            </a:extLst>
          </p:cNvPr>
          <p:cNvSpPr txBox="1">
            <a:spLocks/>
          </p:cNvSpPr>
          <p:nvPr/>
        </p:nvSpPr>
        <p:spPr>
          <a:xfrm>
            <a:off x="2946520" y="548624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Ponies</a:t>
            </a:r>
          </a:p>
          <a:p>
            <a:pPr algn="ctr">
              <a:defRPr/>
            </a:pPr>
            <a: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 US$1M and &lt;US$10M</a:t>
            </a: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9BE744A1-58ED-4A1C-AFFC-DE6B68074754}"/>
              </a:ext>
            </a:extLst>
          </p:cNvPr>
          <p:cNvSpPr/>
          <p:nvPr/>
        </p:nvSpPr>
        <p:spPr>
          <a:xfrm>
            <a:off x="5477331" y="5433514"/>
            <a:ext cx="33374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</a:t>
            </a:r>
          </a:p>
        </p:txBody>
      </p:sp>
      <p:sp>
        <p:nvSpPr>
          <p:cNvPr id="98" name="Slide Number Placeholder 3">
            <a:extLst>
              <a:ext uri="{FF2B5EF4-FFF2-40B4-BE49-F238E27FC236}">
                <a16:creationId xmlns:a16="http://schemas.microsoft.com/office/drawing/2014/main" id="{9101DD2B-259A-486C-B328-D67B0B6FCC3B}"/>
              </a:ext>
            </a:extLst>
          </p:cNvPr>
          <p:cNvSpPr txBox="1">
            <a:spLocks/>
          </p:cNvSpPr>
          <p:nvPr/>
        </p:nvSpPr>
        <p:spPr>
          <a:xfrm>
            <a:off x="5634550" y="548432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Centaurs</a:t>
            </a:r>
          </a:p>
          <a:p>
            <a:pPr algn="ctr">
              <a:defRPr/>
            </a:pPr>
            <a: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 US$10M and &lt;US$100M</a:t>
            </a:r>
          </a:p>
        </p:txBody>
      </p:sp>
      <p:sp>
        <p:nvSpPr>
          <p:cNvPr id="100" name="Slide Number Placeholder 3">
            <a:extLst>
              <a:ext uri="{FF2B5EF4-FFF2-40B4-BE49-F238E27FC236}">
                <a16:creationId xmlns:a16="http://schemas.microsoft.com/office/drawing/2014/main" id="{318586BA-8A2D-44E9-AF2B-40873F3A6E99}"/>
              </a:ext>
            </a:extLst>
          </p:cNvPr>
          <p:cNvSpPr txBox="1">
            <a:spLocks/>
          </p:cNvSpPr>
          <p:nvPr/>
        </p:nvSpPr>
        <p:spPr>
          <a:xfrm>
            <a:off x="8489451" y="549251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-Unicorns</a:t>
            </a:r>
          </a:p>
          <a:p>
            <a:pPr algn="ctr">
              <a:defRPr/>
            </a:pPr>
            <a:r>
              <a:rPr lang="en-US" sz="1600" b="1" i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gt; US$100M and &lt;US$1B</a:t>
            </a:r>
          </a:p>
        </p:txBody>
      </p:sp>
      <p:sp>
        <p:nvSpPr>
          <p:cNvPr id="101" name="Rectangle 100">
            <a:extLst>
              <a:ext uri="{FF2B5EF4-FFF2-40B4-BE49-F238E27FC236}">
                <a16:creationId xmlns:a16="http://schemas.microsoft.com/office/drawing/2014/main" id="{B072F964-C943-4DF3-A6E6-B13726C246DB}"/>
              </a:ext>
            </a:extLst>
          </p:cNvPr>
          <p:cNvSpPr/>
          <p:nvPr/>
        </p:nvSpPr>
        <p:spPr>
          <a:xfrm>
            <a:off x="8294392" y="5426410"/>
            <a:ext cx="352982" cy="369332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algn="ctr"/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gt;</a:t>
            </a:r>
          </a:p>
        </p:txBody>
      </p:sp>
    </p:spTree>
    <p:extLst>
      <p:ext uri="{BB962C8B-B14F-4D97-AF65-F5344CB8AC3E}">
        <p14:creationId xmlns:p14="http://schemas.microsoft.com/office/powerpoint/2010/main" val="17721227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F6166535-62A8-AF41-95F7-4E88770BFE3E}"/>
              </a:ext>
            </a:extLst>
          </p:cNvPr>
          <p:cNvGrpSpPr/>
          <p:nvPr/>
        </p:nvGrpSpPr>
        <p:grpSpPr>
          <a:xfrm>
            <a:off x="5507546" y="3358204"/>
            <a:ext cx="3353574" cy="3260634"/>
            <a:chOff x="5342021" y="0"/>
            <a:chExt cx="3429979" cy="343800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58FDFBA6-BF2B-504D-824A-5844808244FB}"/>
                </a:ext>
              </a:extLst>
            </p:cNvPr>
            <p:cNvSpPr/>
            <p:nvPr/>
          </p:nvSpPr>
          <p:spPr>
            <a:xfrm>
              <a:off x="5342021" y="0"/>
              <a:ext cx="3429979" cy="3438000"/>
            </a:xfrm>
            <a:prstGeom prst="rect">
              <a:avLst/>
            </a:prstGeom>
            <a:solidFill>
              <a:srgbClr val="FF76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D19C1F73-49F5-0948-A6B8-C849FB1E724A}"/>
                </a:ext>
              </a:extLst>
            </p:cNvPr>
            <p:cNvSpPr/>
            <p:nvPr/>
          </p:nvSpPr>
          <p:spPr>
            <a:xfrm>
              <a:off x="5347010" y="934170"/>
              <a:ext cx="3420000" cy="110176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Network &amp; People</a:t>
              </a:r>
              <a:endParaRPr kumimoji="0" lang="en-HK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68E09F0E-1FE3-F749-9D6E-541D9CCA7E60}"/>
              </a:ext>
            </a:extLst>
          </p:cNvPr>
          <p:cNvGrpSpPr/>
          <p:nvPr/>
        </p:nvGrpSpPr>
        <p:grpSpPr>
          <a:xfrm>
            <a:off x="8848182" y="87621"/>
            <a:ext cx="3356755" cy="3260634"/>
            <a:chOff x="8761260" y="-13877"/>
            <a:chExt cx="3433233" cy="3438000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0C93015-CF27-094E-966E-4EDAC33106A1}"/>
                </a:ext>
              </a:extLst>
            </p:cNvPr>
            <p:cNvSpPr/>
            <p:nvPr/>
          </p:nvSpPr>
          <p:spPr>
            <a:xfrm>
              <a:off x="8761260" y="-13877"/>
              <a:ext cx="3420000" cy="3438000"/>
            </a:xfrm>
            <a:prstGeom prst="rect">
              <a:avLst/>
            </a:prstGeom>
            <a:solidFill>
              <a:srgbClr val="2038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F317C81-190D-5841-B46B-79914D38BB3F}"/>
                </a:ext>
              </a:extLst>
            </p:cNvPr>
            <p:cNvSpPr/>
            <p:nvPr/>
          </p:nvSpPr>
          <p:spPr>
            <a:xfrm>
              <a:off x="8774493" y="934170"/>
              <a:ext cx="3420000" cy="1605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Expedite Growth &amp; Expansion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4CBDAB71-72BD-B147-9B91-555C7A56D1F6}"/>
              </a:ext>
            </a:extLst>
          </p:cNvPr>
          <p:cNvGrpSpPr/>
          <p:nvPr/>
        </p:nvGrpSpPr>
        <p:grpSpPr>
          <a:xfrm>
            <a:off x="5502669" y="87621"/>
            <a:ext cx="3353574" cy="3260634"/>
            <a:chOff x="5338277" y="3437999"/>
            <a:chExt cx="3429979" cy="3439006"/>
          </a:xfrm>
          <a:solidFill>
            <a:srgbClr val="00B050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78A0782-2B67-8641-A2BE-9A44362C3701}"/>
                </a:ext>
              </a:extLst>
            </p:cNvPr>
            <p:cNvSpPr/>
            <p:nvPr/>
          </p:nvSpPr>
          <p:spPr>
            <a:xfrm>
              <a:off x="5338277" y="3437999"/>
              <a:ext cx="3429979" cy="343900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55F189FB-5FCB-D645-BE95-C52CB24928B1}"/>
                </a:ext>
              </a:extLst>
            </p:cNvPr>
            <p:cNvSpPr/>
            <p:nvPr/>
          </p:nvSpPr>
          <p:spPr>
            <a:xfrm>
              <a:off x="5343266" y="4609391"/>
              <a:ext cx="3420000" cy="598098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Resources</a:t>
              </a:r>
              <a:endParaRPr kumimoji="0" lang="en-HK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EE1C33CC-2CEB-654B-8CA0-C74371B80695}"/>
              </a:ext>
            </a:extLst>
          </p:cNvPr>
          <p:cNvGrpSpPr/>
          <p:nvPr/>
        </p:nvGrpSpPr>
        <p:grpSpPr>
          <a:xfrm>
            <a:off x="8861121" y="3359427"/>
            <a:ext cx="3343817" cy="3258190"/>
            <a:chOff x="8767009" y="3438000"/>
            <a:chExt cx="3420000" cy="3438000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4676F4A-7222-6848-9BBC-2E88DC20BFCD}"/>
                </a:ext>
              </a:extLst>
            </p:cNvPr>
            <p:cNvSpPr/>
            <p:nvPr/>
          </p:nvSpPr>
          <p:spPr>
            <a:xfrm>
              <a:off x="8767009" y="3438000"/>
              <a:ext cx="3420000" cy="3438000"/>
            </a:xfrm>
            <a:prstGeom prst="rect">
              <a:avLst/>
            </a:prstGeom>
            <a:solidFill>
              <a:srgbClr val="1682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icrosoft JhengHei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BB807F62-5EBA-0845-8AD3-D3ECA5FC267F}"/>
                </a:ext>
              </a:extLst>
            </p:cNvPr>
            <p:cNvSpPr/>
            <p:nvPr/>
          </p:nvSpPr>
          <p:spPr>
            <a:xfrm>
              <a:off x="8767009" y="4354289"/>
              <a:ext cx="3420000" cy="160542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HKSTP: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entury Gothic" panose="020B0502020202020204" pitchFamily="34" charset="0"/>
                  <a:ea typeface="Microsoft JhengHei"/>
                  <a:cs typeface="+mn-cs"/>
                </a:rPr>
                <a:t>Your Partner &amp; Stakeholder</a:t>
              </a:r>
              <a:endParaRPr kumimoji="0" lang="en-US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9DA4D49D-6CD4-4448-B63D-0266D9420F03}"/>
              </a:ext>
            </a:extLst>
          </p:cNvPr>
          <p:cNvSpPr/>
          <p:nvPr/>
        </p:nvSpPr>
        <p:spPr>
          <a:xfrm>
            <a:off x="754601" y="1224597"/>
            <a:ext cx="4496129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We Understand You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entury Gothic" panose="020B0502020202020204" pitchFamily="34" charset="0"/>
                <a:ea typeface="Microsoft JhengHei"/>
                <a:cs typeface="+mn-cs"/>
              </a:rPr>
              <a:t>Next-Level Needs</a:t>
            </a:r>
            <a:endParaRPr kumimoji="0" lang="en-HK" sz="5400" b="1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entury Gothic" panose="020B0502020202020204" pitchFamily="34" charset="0"/>
              <a:ea typeface="Microsoft JhengHe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68838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200F9E-5D1B-28FF-D279-737FAB676D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w acceleration scheme Summary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73462487-2F99-8AB8-09E0-701484EC6141}"/>
              </a:ext>
            </a:extLst>
          </p:cNvPr>
          <p:cNvSpPr/>
          <p:nvPr/>
        </p:nvSpPr>
        <p:spPr>
          <a:xfrm>
            <a:off x="1426714" y="1844808"/>
            <a:ext cx="4127902" cy="88953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K$3.6M milestone grant payment</a:t>
            </a:r>
            <a:endParaRPr lang="en-HK" dirty="0"/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312C0963-D5DB-F82E-A093-31EABBBD15F5}"/>
              </a:ext>
            </a:extLst>
          </p:cNvPr>
          <p:cNvSpPr/>
          <p:nvPr/>
        </p:nvSpPr>
        <p:spPr>
          <a:xfrm>
            <a:off x="1333399" y="3759586"/>
            <a:ext cx="4235507" cy="889538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HK$1.2M credit for domain expert retainer</a:t>
            </a:r>
            <a:endParaRPr lang="en-H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E1791C-B91F-C87A-D390-4D58DB38B281}"/>
              </a:ext>
            </a:extLst>
          </p:cNvPr>
          <p:cNvSpPr txBox="1"/>
          <p:nvPr/>
        </p:nvSpPr>
        <p:spPr>
          <a:xfrm>
            <a:off x="7151085" y="3997192"/>
            <a:ext cx="21278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i="1" dirty="0">
                <a:solidFill>
                  <a:schemeClr val="tx1">
                    <a:lumMod val="75000"/>
                  </a:schemeClr>
                </a:solidFill>
              </a:rPr>
              <a:t>4.8M HKD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A2C56EF2-FE4F-EA7E-1B52-141EC1C1EA1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27493328"/>
              </p:ext>
            </p:extLst>
          </p:nvPr>
        </p:nvGraphicFramePr>
        <p:xfrm>
          <a:off x="7463013" y="1990087"/>
          <a:ext cx="1815964" cy="18547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A3841436-1CEF-7546-8E57-60B6C88CB34D}"/>
              </a:ext>
            </a:extLst>
          </p:cNvPr>
          <p:cNvSpPr txBox="1"/>
          <p:nvPr/>
        </p:nvSpPr>
        <p:spPr>
          <a:xfrm>
            <a:off x="7808619" y="3188355"/>
            <a:ext cx="942680" cy="348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/>
                </a:solidFill>
              </a:rPr>
              <a:t>3.6</a:t>
            </a:r>
            <a:r>
              <a:rPr lang="en-US" altLang="zh-CN" sz="1600" dirty="0">
                <a:solidFill>
                  <a:schemeClr val="bg1"/>
                </a:solidFill>
              </a:rPr>
              <a:t>M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CD6599C-204A-6ED6-EFEB-01BFFE81A76C}"/>
              </a:ext>
            </a:extLst>
          </p:cNvPr>
          <p:cNvSpPr txBox="1"/>
          <p:nvPr/>
        </p:nvSpPr>
        <p:spPr>
          <a:xfrm>
            <a:off x="8406335" y="2459210"/>
            <a:ext cx="942680" cy="3487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1600" dirty="0">
                <a:solidFill>
                  <a:schemeClr val="bg1"/>
                </a:solidFill>
              </a:rPr>
              <a:t>1.2M</a:t>
            </a:r>
            <a:endParaRPr lang="en-US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9834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CC70ED6-5E98-BB53-CAD0-9AD6F2378F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US" dirty="0"/>
              <a:t>Milestone target guide 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320FF58-8FC3-DA6B-66BC-EFB8A5636094}"/>
              </a:ext>
            </a:extLst>
          </p:cNvPr>
          <p:cNvSpPr/>
          <p:nvPr/>
        </p:nvSpPr>
        <p:spPr>
          <a:xfrm>
            <a:off x="2696066" y="2498104"/>
            <a:ext cx="1775382" cy="1159497"/>
          </a:xfrm>
          <a:prstGeom prst="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Busines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0460D75-F19B-43F9-1B7D-7EE38FC0BFB2}"/>
              </a:ext>
            </a:extLst>
          </p:cNvPr>
          <p:cNvSpPr/>
          <p:nvPr/>
        </p:nvSpPr>
        <p:spPr>
          <a:xfrm>
            <a:off x="2696066" y="3674883"/>
            <a:ext cx="1775382" cy="1159497"/>
          </a:xfrm>
          <a:prstGeom prst="rect">
            <a:avLst/>
          </a:prstGeom>
          <a:solidFill>
            <a:srgbClr val="00206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inanc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4998C93-22B5-A6AE-D8C0-96267B062652}"/>
              </a:ext>
            </a:extLst>
          </p:cNvPr>
          <p:cNvSpPr/>
          <p:nvPr/>
        </p:nvSpPr>
        <p:spPr>
          <a:xfrm>
            <a:off x="2696066" y="4851662"/>
            <a:ext cx="1775382" cy="1159497"/>
          </a:xfrm>
          <a:prstGeom prst="rect">
            <a:avLst/>
          </a:prstGeom>
          <a:solidFill>
            <a:schemeClr val="accent6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&amp;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1D34568-FE85-DC9F-62AB-5A1EA79B2F5B}"/>
              </a:ext>
            </a:extLst>
          </p:cNvPr>
          <p:cNvSpPr/>
          <p:nvPr/>
        </p:nvSpPr>
        <p:spPr>
          <a:xfrm>
            <a:off x="4471448" y="2498105"/>
            <a:ext cx="2488676" cy="612742"/>
          </a:xfrm>
          <a:prstGeom prst="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Market penetra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A32282E-1126-7831-B6BA-E2EB9BA818B2}"/>
              </a:ext>
            </a:extLst>
          </p:cNvPr>
          <p:cNvSpPr/>
          <p:nvPr/>
        </p:nvSpPr>
        <p:spPr>
          <a:xfrm>
            <a:off x="4471448" y="3104563"/>
            <a:ext cx="2488676" cy="553038"/>
          </a:xfrm>
          <a:prstGeom prst="rect">
            <a:avLst/>
          </a:prstGeom>
          <a:solidFill>
            <a:srgbClr val="0070C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Custom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DC876EB-8512-DFB4-A7AD-BDCEE12703AD}"/>
              </a:ext>
            </a:extLst>
          </p:cNvPr>
          <p:cNvSpPr/>
          <p:nvPr/>
        </p:nvSpPr>
        <p:spPr>
          <a:xfrm>
            <a:off x="4471448" y="3674884"/>
            <a:ext cx="2488676" cy="612742"/>
          </a:xfrm>
          <a:prstGeom prst="rect">
            <a:avLst/>
          </a:prstGeom>
          <a:solidFill>
            <a:srgbClr val="00206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Revenu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8CE6-361F-431A-334C-1FFEE48DB269}"/>
              </a:ext>
            </a:extLst>
          </p:cNvPr>
          <p:cNvSpPr/>
          <p:nvPr/>
        </p:nvSpPr>
        <p:spPr>
          <a:xfrm>
            <a:off x="4471448" y="4281342"/>
            <a:ext cx="2488676" cy="553038"/>
          </a:xfrm>
          <a:prstGeom prst="rect">
            <a:avLst/>
          </a:prstGeom>
          <a:solidFill>
            <a:srgbClr val="002060"/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Fundraising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6CD4F09-3322-1ED2-FD94-24110264614D}"/>
              </a:ext>
            </a:extLst>
          </p:cNvPr>
          <p:cNvSpPr/>
          <p:nvPr/>
        </p:nvSpPr>
        <p:spPr>
          <a:xfrm>
            <a:off x="4471448" y="4851663"/>
            <a:ext cx="2488676" cy="612742"/>
          </a:xfrm>
          <a:prstGeom prst="rect">
            <a:avLst/>
          </a:prstGeom>
          <a:solidFill>
            <a:schemeClr val="accent6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Produc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A352C66-B2B5-D26D-DAB5-1E605FA75035}"/>
              </a:ext>
            </a:extLst>
          </p:cNvPr>
          <p:cNvSpPr/>
          <p:nvPr/>
        </p:nvSpPr>
        <p:spPr>
          <a:xfrm>
            <a:off x="4471448" y="5458121"/>
            <a:ext cx="2488676" cy="553038"/>
          </a:xfrm>
          <a:prstGeom prst="rect">
            <a:avLst/>
          </a:prstGeom>
          <a:solidFill>
            <a:schemeClr val="accent6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IP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A435DA3-D18C-8061-78DB-9B3CF4540121}"/>
              </a:ext>
            </a:extLst>
          </p:cNvPr>
          <p:cNvSpPr txBox="1"/>
          <p:nvPr/>
        </p:nvSpPr>
        <p:spPr>
          <a:xfrm>
            <a:off x="7107812" y="2620652"/>
            <a:ext cx="39024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Market expansion/business from new region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697E95A0-7D66-F5C6-CD1F-52B8228C2560}"/>
              </a:ext>
            </a:extLst>
          </p:cNvPr>
          <p:cNvSpPr txBox="1"/>
          <p:nvPr/>
        </p:nvSpPr>
        <p:spPr>
          <a:xfrm>
            <a:off x="7107810" y="3211805"/>
            <a:ext cx="5213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new customer sectors / customer growth / reputable custome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776FD0CE-E817-C67B-B70E-421C79F4D01D}"/>
              </a:ext>
            </a:extLst>
          </p:cNvPr>
          <p:cNvSpPr txBox="1"/>
          <p:nvPr/>
        </p:nvSpPr>
        <p:spPr>
          <a:xfrm>
            <a:off x="7107810" y="3767549"/>
            <a:ext cx="5213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Total revenue (LTM) / recurrent revenue (MRR/ARR)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9006122-D30A-F0A7-9A29-6825B6AB5399}"/>
              </a:ext>
            </a:extLst>
          </p:cNvPr>
          <p:cNvSpPr txBox="1"/>
          <p:nvPr/>
        </p:nvSpPr>
        <p:spPr>
          <a:xfrm>
            <a:off x="7107810" y="4388584"/>
            <a:ext cx="5213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CB / equity investment /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F78CC7-51F3-BAFE-22DE-1BA16B996552}"/>
              </a:ext>
            </a:extLst>
          </p:cNvPr>
          <p:cNvSpPr txBox="1"/>
          <p:nvPr/>
        </p:nvSpPr>
        <p:spPr>
          <a:xfrm>
            <a:off x="7107810" y="4968769"/>
            <a:ext cx="5213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New product / Platform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CCA4404-44A1-4F6C-F3B8-8E5D167BED0B}"/>
              </a:ext>
            </a:extLst>
          </p:cNvPr>
          <p:cNvSpPr txBox="1"/>
          <p:nvPr/>
        </p:nvSpPr>
        <p:spPr>
          <a:xfrm>
            <a:off x="7107809" y="5548954"/>
            <a:ext cx="521302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tx1">
                    <a:lumMod val="75000"/>
                  </a:schemeClr>
                </a:solidFill>
              </a:rPr>
              <a:t>Total patents filed / approve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B7974A9-E667-B3C9-E125-BFFBE69FB920}"/>
              </a:ext>
            </a:extLst>
          </p:cNvPr>
          <p:cNvSpPr/>
          <p:nvPr/>
        </p:nvSpPr>
        <p:spPr>
          <a:xfrm>
            <a:off x="433632" y="2498104"/>
            <a:ext cx="1122367" cy="1159497"/>
          </a:xfrm>
          <a:prstGeom prst="rect">
            <a:avLst/>
          </a:prstGeom>
          <a:solidFill>
            <a:schemeClr val="bg1">
              <a:lumMod val="6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Short Term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B51853C-DDE6-B191-739B-08FFEA633577}"/>
              </a:ext>
            </a:extLst>
          </p:cNvPr>
          <p:cNvSpPr/>
          <p:nvPr/>
        </p:nvSpPr>
        <p:spPr>
          <a:xfrm>
            <a:off x="433632" y="3674883"/>
            <a:ext cx="1122367" cy="1159497"/>
          </a:xfrm>
          <a:prstGeom prst="rect">
            <a:avLst/>
          </a:prstGeom>
          <a:solidFill>
            <a:schemeClr val="bg1">
              <a:lumMod val="50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Mid Term Target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C57D941-2D22-A5E0-F3A7-C4F22663020B}"/>
              </a:ext>
            </a:extLst>
          </p:cNvPr>
          <p:cNvSpPr/>
          <p:nvPr/>
        </p:nvSpPr>
        <p:spPr>
          <a:xfrm>
            <a:off x="433632" y="4851662"/>
            <a:ext cx="1122367" cy="1159497"/>
          </a:xfrm>
          <a:prstGeom prst="rect">
            <a:avLst/>
          </a:prstGeom>
          <a:solidFill>
            <a:schemeClr val="tx1">
              <a:lumMod val="75000"/>
            </a:schemeClr>
          </a:solidFill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dirty="0"/>
              <a:t>Long Term Target</a:t>
            </a:r>
          </a:p>
        </p:txBody>
      </p:sp>
      <p:pic>
        <p:nvPicPr>
          <p:cNvPr id="1026" name="Picture 2" descr="Icon Arrow We - Free image on Pixabay">
            <a:extLst>
              <a:ext uri="{FF2B5EF4-FFF2-40B4-BE49-F238E27FC236}">
                <a16:creationId xmlns:a16="http://schemas.microsoft.com/office/drawing/2014/main" id="{788324A7-AC00-95D6-CAE8-E8190357646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3685" y="3848885"/>
            <a:ext cx="811491" cy="8114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DE36515B-D4B8-BECC-E51F-623CD857F5DA}"/>
              </a:ext>
            </a:extLst>
          </p:cNvPr>
          <p:cNvSpPr txBox="1"/>
          <p:nvPr/>
        </p:nvSpPr>
        <p:spPr>
          <a:xfrm>
            <a:off x="433632" y="1034471"/>
            <a:ext cx="1132473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Applicants propose 3-5 milestone targets which will significant</a:t>
            </a:r>
            <a:r>
              <a:rPr lang="en-US" altLang="zh-CN" sz="1600" dirty="0">
                <a:solidFill>
                  <a:schemeClr val="tx1">
                    <a:lumMod val="75000"/>
                  </a:schemeClr>
                </a:solidFill>
              </a:rPr>
              <a:t>ly</a:t>
            </a:r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 impact business/valuation in the next two years.</a:t>
            </a:r>
          </a:p>
          <a:p>
            <a:endParaRPr lang="en-US" sz="1600" dirty="0">
              <a:solidFill>
                <a:schemeClr val="tx1">
                  <a:lumMod val="75000"/>
                </a:schemeClr>
              </a:solidFill>
            </a:endParaRPr>
          </a:p>
          <a:p>
            <a:r>
              <a:rPr lang="en-US" sz="1600" dirty="0">
                <a:solidFill>
                  <a:schemeClr val="tx1">
                    <a:lumMod val="75000"/>
                  </a:schemeClr>
                </a:solidFill>
              </a:rPr>
              <a:t>All milestone targets should be qualifiable with proof evidence</a:t>
            </a:r>
          </a:p>
        </p:txBody>
      </p:sp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47E6F257-37BA-ED70-DF61-82063A46514B}"/>
              </a:ext>
            </a:extLst>
          </p:cNvPr>
          <p:cNvGraphicFramePr/>
          <p:nvPr/>
        </p:nvGraphicFramePr>
        <p:xfrm>
          <a:off x="10990618" y="5412915"/>
          <a:ext cx="1201382" cy="1159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7" name="TextBox 26">
            <a:extLst>
              <a:ext uri="{FF2B5EF4-FFF2-40B4-BE49-F238E27FC236}">
                <a16:creationId xmlns:a16="http://schemas.microsoft.com/office/drawing/2014/main" id="{1A081D40-972C-F0B5-1A08-ABF106ED6D58}"/>
              </a:ext>
            </a:extLst>
          </p:cNvPr>
          <p:cNvSpPr txBox="1"/>
          <p:nvPr/>
        </p:nvSpPr>
        <p:spPr>
          <a:xfrm>
            <a:off x="11236751" y="6039677"/>
            <a:ext cx="70701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chemeClr val="bg1"/>
                </a:solidFill>
              </a:rPr>
              <a:t>3.6M</a:t>
            </a:r>
          </a:p>
        </p:txBody>
      </p:sp>
    </p:spTree>
    <p:extLst>
      <p:ext uri="{BB962C8B-B14F-4D97-AF65-F5344CB8AC3E}">
        <p14:creationId xmlns:p14="http://schemas.microsoft.com/office/powerpoint/2010/main" val="4177402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O0PqMOSrKhJk5K9a_NWw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HKSTP">
      <a:majorFont>
        <a:latin typeface="Arial"/>
        <a:ea typeface="Microsoft JhengHei"/>
        <a:cs typeface=""/>
      </a:majorFont>
      <a:minorFont>
        <a:latin typeface="Arial"/>
        <a:ea typeface="Microsoft Jheng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solidFill>
              <a:schemeClr val="tx1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Custom Design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HKSTP">
      <a:majorFont>
        <a:latin typeface="Arial"/>
        <a:ea typeface="Microsoft JhengHei"/>
        <a:cs typeface=""/>
      </a:majorFont>
      <a:minorFont>
        <a:latin typeface="Arial"/>
        <a:ea typeface="Microsoft Jheng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Default Theme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Default Theme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HKSTP">
      <a:majorFont>
        <a:latin typeface="Arial"/>
        <a:ea typeface="Microsoft JhengHei"/>
        <a:cs typeface=""/>
      </a:majorFont>
      <a:minorFont>
        <a:latin typeface="Arial"/>
        <a:ea typeface="Microsoft Jheng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solidFill>
              <a:schemeClr val="tx1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KSTP Corporate PPTX template 20201223_final 2" id="{9AF27196-D58C-4AB4-96EF-25622C1EABD8}" vid="{F6101708-6236-4ED6-B8CC-825958A9FE35}"/>
    </a:ext>
  </a:extLst>
</a:theme>
</file>

<file path=ppt/theme/theme5.xml><?xml version="1.0" encoding="utf-8"?>
<a:theme xmlns:a="http://schemas.openxmlformats.org/drawingml/2006/main" name="3_Default Theme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HKSTP">
      <a:majorFont>
        <a:latin typeface="Arial"/>
        <a:ea typeface="Microsoft JhengHei"/>
        <a:cs typeface=""/>
      </a:majorFont>
      <a:minorFont>
        <a:latin typeface="Arial"/>
        <a:ea typeface="Microsoft Jheng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solidFill>
              <a:schemeClr val="tx1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HKSTP Corporate PPTX template 20201223_final 2" id="{9AF27196-D58C-4AB4-96EF-25622C1EABD8}" vid="{F6101708-6236-4ED6-B8CC-825958A9FE35}"/>
    </a:ext>
  </a:extLst>
</a:theme>
</file>

<file path=ppt/theme/theme6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4_Default Theme">
  <a:themeElements>
    <a:clrScheme name="Custom 1">
      <a:dk1>
        <a:srgbClr val="3F3F3F"/>
      </a:dk1>
      <a:lt1>
        <a:srgbClr val="FFFFFF"/>
      </a:lt1>
      <a:dk2>
        <a:srgbClr val="999999"/>
      </a:dk2>
      <a:lt2>
        <a:srgbClr val="FFFFFF"/>
      </a:lt2>
      <a:accent1>
        <a:srgbClr val="002D72"/>
      </a:accent1>
      <a:accent2>
        <a:srgbClr val="406296"/>
      </a:accent2>
      <a:accent3>
        <a:srgbClr val="869CBC"/>
      </a:accent3>
      <a:accent4>
        <a:srgbClr val="FF9B60"/>
      </a:accent4>
      <a:accent5>
        <a:srgbClr val="FF6A13"/>
      </a:accent5>
      <a:accent6>
        <a:srgbClr val="FFD5BD"/>
      </a:accent6>
      <a:hlink>
        <a:srgbClr val="0000FF"/>
      </a:hlink>
      <a:folHlink>
        <a:srgbClr val="3F3F3F"/>
      </a:folHlink>
    </a:clrScheme>
    <a:fontScheme name="HKSTP">
      <a:majorFont>
        <a:latin typeface="Arial"/>
        <a:ea typeface="Microsoft JhengHei"/>
        <a:cs typeface=""/>
      </a:majorFont>
      <a:minorFont>
        <a:latin typeface="Arial"/>
        <a:ea typeface="Microsoft Jheng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/>
        </a:defPPr>
      </a:lstStyle>
      <a:style>
        <a:lnRef idx="3">
          <a:schemeClr val="lt1"/>
        </a:lnRef>
        <a:fillRef idx="1">
          <a:schemeClr val="accent3"/>
        </a:fillRef>
        <a:effectRef idx="1">
          <a:schemeClr val="accent3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600" dirty="0">
            <a:solidFill>
              <a:schemeClr val="tx1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Custom 1">
    <a:dk1>
      <a:srgbClr val="3F3F3F"/>
    </a:dk1>
    <a:lt1>
      <a:srgbClr val="FFFFFF"/>
    </a:lt1>
    <a:dk2>
      <a:srgbClr val="999999"/>
    </a:dk2>
    <a:lt2>
      <a:srgbClr val="FFFFFF"/>
    </a:lt2>
    <a:accent1>
      <a:srgbClr val="002D72"/>
    </a:accent1>
    <a:accent2>
      <a:srgbClr val="406296"/>
    </a:accent2>
    <a:accent3>
      <a:srgbClr val="869CBC"/>
    </a:accent3>
    <a:accent4>
      <a:srgbClr val="FF9B60"/>
    </a:accent4>
    <a:accent5>
      <a:srgbClr val="FF6A13"/>
    </a:accent5>
    <a:accent6>
      <a:srgbClr val="FFD5BD"/>
    </a:accent6>
    <a:hlink>
      <a:srgbClr val="0000FF"/>
    </a:hlink>
    <a:folHlink>
      <a:srgbClr val="3F3F3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6C763CCFE4AC4E9B934262295589B6" ma:contentTypeVersion="16" ma:contentTypeDescription="Create a new document." ma:contentTypeScope="" ma:versionID="5b3c711b7e41d2a68b01193af31866a2">
  <xsd:schema xmlns:xsd="http://www.w3.org/2001/XMLSchema" xmlns:xs="http://www.w3.org/2001/XMLSchema" xmlns:p="http://schemas.microsoft.com/office/2006/metadata/properties" xmlns:ns1="http://schemas.microsoft.com/sharepoint/v3" xmlns:ns3="e71617eb-6f0c-4a02-91fb-ba7e44674a3e" xmlns:ns4="e73ec476-445f-40b0-a909-e0986bb05317" targetNamespace="http://schemas.microsoft.com/office/2006/metadata/properties" ma:root="true" ma:fieldsID="bac16bf370844c43ffa431200ad62375" ns1:_="" ns3:_="" ns4:_="">
    <xsd:import namespace="http://schemas.microsoft.com/sharepoint/v3"/>
    <xsd:import namespace="e71617eb-6f0c-4a02-91fb-ba7e44674a3e"/>
    <xsd:import namespace="e73ec476-445f-40b0-a909-e0986bb0531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1617eb-6f0c-4a02-91fb-ba7e44674a3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3ec476-445f-40b0-a909-e0986bb0531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7F51636-1ED1-4DF8-9F71-7C76A4B31CA4}">
  <ds:schemaRefs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e71617eb-6f0c-4a02-91fb-ba7e44674a3e"/>
    <ds:schemaRef ds:uri="http://purl.org/dc/terms/"/>
    <ds:schemaRef ds:uri="http://schemas.microsoft.com/office/infopath/2007/PartnerControls"/>
    <ds:schemaRef ds:uri="http://purl.org/dc/dcmitype/"/>
    <ds:schemaRef ds:uri="http://schemas.microsoft.com/office/2006/documentManagement/types"/>
    <ds:schemaRef ds:uri="e73ec476-445f-40b0-a909-e0986bb05317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8A96DE8-1523-42C2-9D9C-A9CE1F993E0B}">
  <ds:schemaRefs>
    <ds:schemaRef ds:uri="e71617eb-6f0c-4a02-91fb-ba7e44674a3e"/>
    <ds:schemaRef ds:uri="e73ec476-445f-40b0-a909-e0986bb0531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85AC9E00-761D-48E9-9223-17A6BC9689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68</TotalTime>
  <Words>1328</Words>
  <Application>Microsoft Office PowerPoint</Application>
  <PresentationFormat>Widescreen</PresentationFormat>
  <Paragraphs>311</Paragraphs>
  <Slides>20</Slides>
  <Notes>1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9" baseType="lpstr">
      <vt:lpstr>Arial Unicode MS</vt:lpstr>
      <vt:lpstr>Microsoft JhengHei</vt:lpstr>
      <vt:lpstr>Arial</vt:lpstr>
      <vt:lpstr>Calibri</vt:lpstr>
      <vt:lpstr>Calibri Light</vt:lpstr>
      <vt:lpstr>Century Gothic</vt:lpstr>
      <vt:lpstr>Lato Light</vt:lpstr>
      <vt:lpstr>Nunito Sans ExtraLight</vt:lpstr>
      <vt:lpstr>Source Sans Pro</vt:lpstr>
      <vt:lpstr>Source Sans Pro Light</vt:lpstr>
      <vt:lpstr>Wingdings</vt:lpstr>
      <vt:lpstr>Default Theme</vt:lpstr>
      <vt:lpstr>Custom Design</vt:lpstr>
      <vt:lpstr>1_Default Theme</vt:lpstr>
      <vt:lpstr>2_Default Theme</vt:lpstr>
      <vt:lpstr>3_Default Theme</vt:lpstr>
      <vt:lpstr>1_Office Theme</vt:lpstr>
      <vt:lpstr>4_Default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New acceleration scheme Summary</vt:lpstr>
      <vt:lpstr>Milestone target guide </vt:lpstr>
      <vt:lpstr>Milestone based grant payment flow</vt:lpstr>
      <vt:lpstr>PowerPoint Presentation</vt:lpstr>
      <vt:lpstr>Expedite Your Growth &amp; Expansion</vt:lpstr>
      <vt:lpstr>Business Development</vt:lpstr>
      <vt:lpstr>Capital Management</vt:lpstr>
      <vt:lpstr>PowerPoint Presentation</vt:lpstr>
      <vt:lpstr>Mentors and Advisors</vt:lpstr>
      <vt:lpstr>Domain expert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atherine HY Chan</dc:creator>
  <cp:lastModifiedBy>Vincent X Hou</cp:lastModifiedBy>
  <cp:revision>37</cp:revision>
  <dcterms:created xsi:type="dcterms:W3CDTF">2020-10-21T06:38:30Z</dcterms:created>
  <dcterms:modified xsi:type="dcterms:W3CDTF">2023-04-04T08:45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6C763CCFE4AC4E9B934262295589B6</vt:lpwstr>
  </property>
  <property fmtid="{D5CDD505-2E9C-101B-9397-08002B2CF9AE}" pid="3" name="MSIP_Label_cb40898e-8284-402c-838e-1fd1e257f0ce_Enabled">
    <vt:lpwstr>true</vt:lpwstr>
  </property>
  <property fmtid="{D5CDD505-2E9C-101B-9397-08002B2CF9AE}" pid="4" name="MSIP_Label_cb40898e-8284-402c-838e-1fd1e257f0ce_SetDate">
    <vt:lpwstr>2021-06-28T00:56:16Z</vt:lpwstr>
  </property>
  <property fmtid="{D5CDD505-2E9C-101B-9397-08002B2CF9AE}" pid="5" name="MSIP_Label_cb40898e-8284-402c-838e-1fd1e257f0ce_Method">
    <vt:lpwstr>Standard</vt:lpwstr>
  </property>
  <property fmtid="{D5CDD505-2E9C-101B-9397-08002B2CF9AE}" pid="6" name="MSIP_Label_cb40898e-8284-402c-838e-1fd1e257f0ce_Name">
    <vt:lpwstr>Restricted (No Protection)</vt:lpwstr>
  </property>
  <property fmtid="{D5CDD505-2E9C-101B-9397-08002B2CF9AE}" pid="7" name="MSIP_Label_cb40898e-8284-402c-838e-1fd1e257f0ce_SiteId">
    <vt:lpwstr>b3e19ac2-e192-44c8-90bd-41acbfb3dcdb</vt:lpwstr>
  </property>
  <property fmtid="{D5CDD505-2E9C-101B-9397-08002B2CF9AE}" pid="8" name="MSIP_Label_cb40898e-8284-402c-838e-1fd1e257f0ce_ActionId">
    <vt:lpwstr>e8f74259-3c7c-49a1-8703-6549b464a91e</vt:lpwstr>
  </property>
  <property fmtid="{D5CDD505-2E9C-101B-9397-08002B2CF9AE}" pid="9" name="MSIP_Label_cb40898e-8284-402c-838e-1fd1e257f0ce_ContentBits">
    <vt:lpwstr>0</vt:lpwstr>
  </property>
</Properties>
</file>